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1" r:id="rId5"/>
    <p:sldMasterId id="2147483688" r:id="rId6"/>
  </p:sldMasterIdLst>
  <p:notesMasterIdLst>
    <p:notesMasterId r:id="rId33"/>
  </p:notesMasterIdLst>
  <p:sldIdLst>
    <p:sldId id="261" r:id="rId7"/>
    <p:sldId id="1173" r:id="rId8"/>
    <p:sldId id="371" r:id="rId9"/>
    <p:sldId id="369" r:id="rId10"/>
    <p:sldId id="1169" r:id="rId11"/>
    <p:sldId id="1170" r:id="rId12"/>
    <p:sldId id="367" r:id="rId13"/>
    <p:sldId id="302" r:id="rId14"/>
    <p:sldId id="1165" r:id="rId15"/>
    <p:sldId id="295" r:id="rId16"/>
    <p:sldId id="1168" r:id="rId17"/>
    <p:sldId id="1167" r:id="rId18"/>
    <p:sldId id="324" r:id="rId19"/>
    <p:sldId id="1171" r:id="rId20"/>
    <p:sldId id="338" r:id="rId21"/>
    <p:sldId id="377" r:id="rId22"/>
    <p:sldId id="1174" r:id="rId23"/>
    <p:sldId id="373" r:id="rId24"/>
    <p:sldId id="375" r:id="rId25"/>
    <p:sldId id="374" r:id="rId26"/>
    <p:sldId id="383" r:id="rId27"/>
    <p:sldId id="399" r:id="rId28"/>
    <p:sldId id="386" r:id="rId29"/>
    <p:sldId id="388" r:id="rId30"/>
    <p:sldId id="389" r:id="rId31"/>
    <p:sldId id="1172" r:id="rId32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531" userDrawn="1">
          <p15:clr>
            <a:srgbClr val="A4A3A4"/>
          </p15:clr>
        </p15:guide>
        <p15:guide id="4" orient="horz" pos="735" userDrawn="1">
          <p15:clr>
            <a:srgbClr val="A4A3A4"/>
          </p15:clr>
        </p15:guide>
        <p15:guide id="5" pos="2653" userDrawn="1">
          <p15:clr>
            <a:srgbClr val="A4A3A4"/>
          </p15:clr>
        </p15:guide>
        <p15:guide id="6" pos="5216" userDrawn="1">
          <p15:clr>
            <a:srgbClr val="A4A3A4"/>
          </p15:clr>
        </p15:guide>
        <p15:guide id="7" pos="3129" userDrawn="1">
          <p15:clr>
            <a:srgbClr val="A4A3A4"/>
          </p15:clr>
        </p15:guide>
        <p15:guide id="8" pos="4150" userDrawn="1">
          <p15:clr>
            <a:srgbClr val="A4A3A4"/>
          </p15:clr>
        </p15:guide>
        <p15:guide id="9" pos="6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har" initials="BM" lastIdx="6" clrIdx="0">
    <p:extLst>
      <p:ext uri="{19B8F6BF-5375-455C-9EA6-DF929625EA0E}">
        <p15:presenceInfo xmlns:p15="http://schemas.microsoft.com/office/powerpoint/2012/main" userId="Baha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CDC"/>
    <a:srgbClr val="CACB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3636200-B268-4E77-B25C-E97857F4F471}" v="3" dt="2019-10-29T09:22:14.593"/>
  </p1510:revLst>
</p1510:revInfo>
</file>

<file path=ppt/tableStyles.xml><?xml version="1.0" encoding="utf-8"?>
<a:tblStyleLst xmlns:a="http://schemas.openxmlformats.org/drawingml/2006/main" def="{BFEA419B-BCDB-4C27-8AB2-1E94C2BD932B}">
  <a:tblStyle styleId="{BFEA419B-BCDB-4C27-8AB2-1E94C2BD932B}" styleName="Elsevier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0" cmpd="sng">
              <a:solidFill>
                <a:schemeClr val="lt1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27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47" autoAdjust="0"/>
    <p:restoredTop sz="89239" autoAdjust="0"/>
  </p:normalViewPr>
  <p:slideViewPr>
    <p:cSldViewPr snapToGrid="0" showGuides="1">
      <p:cViewPr varScale="1">
        <p:scale>
          <a:sx n="80" d="100"/>
          <a:sy n="80" d="100"/>
        </p:scale>
        <p:origin x="1050" y="78"/>
      </p:cViewPr>
      <p:guideLst>
        <p:guide orient="horz" pos="1620"/>
        <p:guide pos="2880"/>
        <p:guide orient="horz" pos="531"/>
        <p:guide orient="horz" pos="735"/>
        <p:guide pos="2653"/>
        <p:guide pos="5216"/>
        <p:guide pos="3129"/>
        <p:guide pos="4150"/>
        <p:guide pos="65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21" d="100"/>
          <a:sy n="121" d="100"/>
        </p:scale>
        <p:origin x="4224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ca-Zając, Katarzyna (ELS-WRO)" userId="962c7dfc-0d5b-4cc9-88e5-a659e227383b" providerId="ADAL" clId="{204E825B-A1F9-4A5C-971D-4BD2B821C3D7}"/>
    <pc:docChg chg="modSld">
      <pc:chgData name="Gaca-Zając, Katarzyna (ELS-WRO)" userId="962c7dfc-0d5b-4cc9-88e5-a659e227383b" providerId="ADAL" clId="{204E825B-A1F9-4A5C-971D-4BD2B821C3D7}" dt="2019-10-29T09:22:14.593" v="7"/>
      <pc:docMkLst>
        <pc:docMk/>
      </pc:docMkLst>
      <pc:sldChg chg="modSp">
        <pc:chgData name="Gaca-Zając, Katarzyna (ELS-WRO)" userId="962c7dfc-0d5b-4cc9-88e5-a659e227383b" providerId="ADAL" clId="{204E825B-A1F9-4A5C-971D-4BD2B821C3D7}" dt="2019-10-29T09:20:51.612" v="1" actId="403"/>
        <pc:sldMkLst>
          <pc:docMk/>
          <pc:sldMk cId="3612023791" sldId="261"/>
        </pc:sldMkLst>
        <pc:spChg chg="mod">
          <ac:chgData name="Gaca-Zając, Katarzyna (ELS-WRO)" userId="962c7dfc-0d5b-4cc9-88e5-a659e227383b" providerId="ADAL" clId="{204E825B-A1F9-4A5C-971D-4BD2B821C3D7}" dt="2019-10-29T09:20:48.093" v="0" actId="404"/>
          <ac:spMkLst>
            <pc:docMk/>
            <pc:sldMk cId="3612023791" sldId="261"/>
            <ac:spMk id="5" creationId="{00000000-0000-0000-0000-000000000000}"/>
          </ac:spMkLst>
        </pc:spChg>
        <pc:spChg chg="mod">
          <ac:chgData name="Gaca-Zając, Katarzyna (ELS-WRO)" userId="962c7dfc-0d5b-4cc9-88e5-a659e227383b" providerId="ADAL" clId="{204E825B-A1F9-4A5C-971D-4BD2B821C3D7}" dt="2019-10-29T09:20:51.612" v="1" actId="403"/>
          <ac:spMkLst>
            <pc:docMk/>
            <pc:sldMk cId="3612023791" sldId="261"/>
            <ac:spMk id="6" creationId="{00000000-0000-0000-0000-000000000000}"/>
          </ac:spMkLst>
        </pc:spChg>
      </pc:sldChg>
      <pc:sldChg chg="modTransition">
        <pc:chgData name="Gaca-Zając, Katarzyna (ELS-WRO)" userId="962c7dfc-0d5b-4cc9-88e5-a659e227383b" providerId="ADAL" clId="{204E825B-A1F9-4A5C-971D-4BD2B821C3D7}" dt="2019-10-29T09:22:14.593" v="7"/>
        <pc:sldMkLst>
          <pc:docMk/>
          <pc:sldMk cId="1495751528" sldId="302"/>
        </pc:sldMkLst>
      </pc:sldChg>
      <pc:sldChg chg="modSp modAnim">
        <pc:chgData name="Gaca-Zając, Katarzyna (ELS-WRO)" userId="962c7dfc-0d5b-4cc9-88e5-a659e227383b" providerId="ADAL" clId="{204E825B-A1F9-4A5C-971D-4BD2B821C3D7}" dt="2019-10-29T09:21:18.471" v="5"/>
        <pc:sldMkLst>
          <pc:docMk/>
          <pc:sldMk cId="3793319870" sldId="1173"/>
        </pc:sldMkLst>
        <pc:spChg chg="mod">
          <ac:chgData name="Gaca-Zając, Katarzyna (ELS-WRO)" userId="962c7dfc-0d5b-4cc9-88e5-a659e227383b" providerId="ADAL" clId="{204E825B-A1F9-4A5C-971D-4BD2B821C3D7}" dt="2019-10-29T09:21:14.217" v="4" actId="1076"/>
          <ac:spMkLst>
            <pc:docMk/>
            <pc:sldMk cId="3793319870" sldId="1173"/>
            <ac:spMk id="2" creationId="{2F04D1B9-D9D9-4D06-8D8E-B6F5C095400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9DD4CF-C917-4D69-9374-6EFF2E9F78C3}" type="datetimeFigureOut">
              <a:rPr lang="de-DE" smtClean="0"/>
              <a:t>28.10.2019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443C7B-F938-4CE9-A268-32817172635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874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theupturnedmicroscope.com/comic/negative-data/" TargetMode="Externa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pmic.wordpress.com/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3612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lsevier has developed APIs that IR managers can leverage to showcase their institutional</a:t>
            </a:r>
            <a:r>
              <a:rPr lang="en-GB" baseline="0" dirty="0"/>
              <a:t> output, increase </a:t>
            </a:r>
            <a:r>
              <a:rPr lang="en-GB" dirty="0"/>
              <a:t>public access and enhance the user experience in three ways:</a:t>
            </a:r>
          </a:p>
          <a:p>
            <a:r>
              <a:rPr lang="en-GB" dirty="0"/>
              <a:t>1) Increase comprehensiveness of coverage of Elsevier-published content by authors from the institution; </a:t>
            </a:r>
          </a:p>
          <a:p>
            <a:r>
              <a:rPr lang="en-GB" dirty="0"/>
              <a:t>2) Help users to access the best available version; and </a:t>
            </a:r>
          </a:p>
          <a:p>
            <a:r>
              <a:rPr lang="en-GB" dirty="0"/>
              <a:t>3) Keep users in the IR, even when reading final articles. </a:t>
            </a:r>
          </a:p>
          <a:p>
            <a:endParaRPr lang="en-US" dirty="0"/>
          </a:p>
          <a:p>
            <a:r>
              <a:rPr lang="en-US" dirty="0"/>
              <a:t>Read more: https://www.elsevier.com/connect/using-the-sciencedirect-api-to-increase-visibility-and-access-to-research-artic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85942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Open Data report is a result of a year-long, co-conducted study between Elsevier and the Centre for Science and Technology Studies (CWTS), part of Leiden University, the Netherlands.  The study is based on a complementary methods approach consisting of a quantitative analysis of bibliometric and publication data, a global survey of 1,200 researchers and three case studies including in-depth interviews with key individuals involved in data collection, analysis and deposition in the fields of soil science, human genetics and digital humaniti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49967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40979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35605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79629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80383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ecision to opt-out lies with the editor. Authors are informed on submission to the journal that this could happen, no option to opt-out. Reviewer also informed on invitation of editor that review will be published openly, but that they can remain anonymous if published. Reports assigned a DOI and published openly, but are not assigned any reuse license (unless gold OA journal).  Pilot included two open access journals, three hybrid journals.</a:t>
            </a:r>
          </a:p>
          <a:p>
            <a:endParaRPr lang="en-GB" dirty="0"/>
          </a:p>
          <a:p>
            <a:r>
              <a:rPr lang="en-GB" sz="1200" dirty="0">
                <a:solidFill>
                  <a:schemeClr val="tx1"/>
                </a:solidFill>
              </a:rPr>
              <a:t>Elsevier uses single-blind and double-blind review process</a:t>
            </a:r>
          </a:p>
          <a:p>
            <a:endParaRPr lang="en-GB" sz="1200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1"/>
                </a:solidFill>
              </a:rPr>
              <a:t>Forward look data </a:t>
            </a:r>
            <a:r>
              <a:rPr lang="en-GB" sz="1200" dirty="0" err="1">
                <a:solidFill>
                  <a:schemeClr val="tx1"/>
                </a:solidFill>
              </a:rPr>
              <a:t>e.g</a:t>
            </a:r>
            <a:r>
              <a:rPr lang="en-GB" sz="1200" dirty="0">
                <a:solidFill>
                  <a:schemeClr val="tx1"/>
                </a:solidFill>
              </a:rPr>
              <a:t>, </a:t>
            </a:r>
            <a:r>
              <a:rPr lang="en-US" dirty="0"/>
              <a:t>such as #of reviews per article upon acceptance</a:t>
            </a: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443C7B-F938-4CE9-A268-32817172635B}" type="slidenum"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941435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re</a:t>
            </a:r>
            <a:r>
              <a:rPr lang="en-US" baseline="0" dirty="0"/>
              <a:t> on Elsevier and the TOP guidelines:</a:t>
            </a:r>
          </a:p>
          <a:p>
            <a:r>
              <a:rPr lang="en-US" dirty="0"/>
              <a:t>https://www.elsevier.com/connect/elsevier-supports-top-guidelines-in-ongoing-efforts-to-ensure-research-quality-and-transparenc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94264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00319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elsevier.com/about/press-releases/research-and-journals/elsevier-journals-to-link-published-reports-of-clinical-trials-to-the-registered-study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>
              <a:solidFill>
                <a:srgbClr val="53565A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rgbClr val="53565A"/>
                </a:solidFill>
              </a:rPr>
              <a:t>https://www.elsevier.com/connect/new-journal-will-publish-results-from-all-scientifically-sound-clinical-tria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>
              <a:solidFill>
                <a:srgbClr val="53565A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rgbClr val="53565A"/>
                </a:solidFill>
              </a:rPr>
              <a:t>http://www.alltrials.net/news/elsevier-joins-alltrials/</a:t>
            </a:r>
          </a:p>
          <a:p>
            <a:endParaRPr lang="en-US" dirty="0"/>
          </a:p>
          <a:p>
            <a:r>
              <a:rPr lang="en-US" dirty="0"/>
              <a:t>Illustration from: </a:t>
            </a:r>
            <a:r>
              <a:rPr lang="en-US" dirty="0">
                <a:hlinkClick r:id="rId3"/>
              </a:rPr>
              <a:t>https://theupturnedmicroscope.com/comic/negative-data/</a:t>
            </a:r>
            <a:r>
              <a:rPr lang="en-US" dirty="0"/>
              <a:t> by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Nik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Papageorgiou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13029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8833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45383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Tutaj można dopowiedzieć o rodzajach umów, jakie podpisujemy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84967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443C7B-F938-4CE9-A268-32817172635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0654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12928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6411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3836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443C7B-F938-4CE9-A268-32817172635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6145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for l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solidFill>
            <a:srgbClr val="F2F2F2">
              <a:alpha val="7059"/>
            </a:srgbClr>
          </a:solidFill>
        </p:spPr>
        <p:txBody>
          <a:bodyPr>
            <a:normAutofit/>
          </a:bodyPr>
          <a:lstStyle>
            <a:lvl1pPr marL="0" indent="0" algn="r">
              <a:buNone/>
              <a:defRPr sz="1600" baseline="0"/>
            </a:lvl1pPr>
          </a:lstStyle>
          <a:p>
            <a:r>
              <a:rPr lang="de-DE" dirty="0"/>
              <a:t>Click on icon to selec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314" y="1932754"/>
            <a:ext cx="5086333" cy="2010596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4400"/>
            </a:lvl1pPr>
          </a:lstStyle>
          <a:p>
            <a:r>
              <a:rPr lang="nl-NL" dirty="0"/>
              <a:t>Click to edit Master title style</a:t>
            </a:r>
            <a:endParaRPr lang="de-DE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72714" y="4450739"/>
            <a:ext cx="5112709" cy="448866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  <a:endParaRPr lang="de-DE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71592" y="483241"/>
            <a:ext cx="787296" cy="864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/>
            </a:lvl1pPr>
          </a:lstStyle>
          <a:p>
            <a:pPr lvl="0"/>
            <a:r>
              <a:rPr lang="nl-NL"/>
              <a:t>Click to edit Master text styles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36310537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6FB3A4-7AA6-4BB5-9DAB-3BFB84ECB711}" type="datetime1">
              <a:rPr lang="nl-NL" smtClean="0"/>
              <a:t>28-10-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tle (change with Header &amp; footer button)</a:t>
            </a:r>
            <a:endParaRPr lang="de-DE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72580" y="767870"/>
            <a:ext cx="4231218" cy="3561746"/>
          </a:xfrm>
        </p:spPr>
        <p:txBody>
          <a:bodyPr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1800" b="0"/>
            </a:lvl1pPr>
            <a:lvl2pPr marL="273050" indent="-273050">
              <a:lnSpc>
                <a:spcPts val="2600"/>
              </a:lnSpc>
              <a:spcBef>
                <a:spcPts val="0"/>
              </a:spcBef>
              <a:buFont typeface="+mj-lt"/>
              <a:buAutoNum type="arabicPeriod"/>
              <a:defRPr sz="1800"/>
            </a:lvl2pPr>
            <a:lvl3pPr marL="536575" indent="-171450">
              <a:lnSpc>
                <a:spcPts val="2600"/>
              </a:lnSpc>
              <a:spcBef>
                <a:spcPts val="0"/>
              </a:spcBef>
              <a:defRPr sz="1800"/>
            </a:lvl3pPr>
            <a:lvl4pPr marL="720725" indent="-171450">
              <a:lnSpc>
                <a:spcPts val="2600"/>
              </a:lnSpc>
              <a:spcBef>
                <a:spcPts val="0"/>
              </a:spcBef>
              <a:tabLst/>
              <a:defRPr sz="1800"/>
            </a:lvl4pPr>
            <a:lvl5pPr marL="896938" indent="-171450">
              <a:lnSpc>
                <a:spcPts val="2600"/>
              </a:lnSpc>
              <a:spcBef>
                <a:spcPts val="0"/>
              </a:spcBef>
              <a:defRPr sz="1800"/>
            </a:lvl5pPr>
          </a:lstStyle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448301" y="1021557"/>
            <a:ext cx="3227387" cy="27503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Click icon to add chart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0" y="64291"/>
            <a:ext cx="7928508" cy="462759"/>
          </a:xfrm>
        </p:spPr>
        <p:txBody>
          <a:bodyPr/>
          <a:lstStyle/>
          <a:p>
            <a:r>
              <a:rPr lang="nl-NL"/>
              <a:t>Click to edit Master title style</a:t>
            </a:r>
            <a:endParaRPr lang="de-DE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41862720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1D8A3-D733-4627-8E4E-108F9F7BDAD5}" type="datetime1">
              <a:rPr lang="nl-NL" smtClean="0"/>
              <a:t>28-10-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tle (change with Header &amp; footer button)</a:t>
            </a:r>
            <a:endParaRPr lang="de-DE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863600" y="687571"/>
            <a:ext cx="7821082" cy="364789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Click icon to add chart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0" y="64291"/>
            <a:ext cx="7928508" cy="462759"/>
          </a:xfrm>
        </p:spPr>
        <p:txBody>
          <a:bodyPr/>
          <a:lstStyle/>
          <a:p>
            <a:r>
              <a:rPr lang="nl-NL"/>
              <a:t>Click to edit Master title style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28313743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1AD90-5EF5-4966-8CC9-57299F80E2CB}" type="datetime1">
              <a:rPr lang="nl-NL" smtClean="0"/>
              <a:t>28-10-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tle (change with Header &amp; footer button)</a:t>
            </a:r>
            <a:endParaRPr lang="de-DE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863600" y="733425"/>
            <a:ext cx="7821613" cy="357237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Click icon to add table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Click to edit Master title style</a:t>
            </a:r>
            <a:endParaRPr lang="de-DE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7820126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75889" y="4450739"/>
            <a:ext cx="5112709" cy="448866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Department</a:t>
            </a:r>
            <a:br>
              <a:rPr lang="en-US" dirty="0"/>
            </a:br>
            <a:r>
              <a:rPr lang="en-US" dirty="0"/>
              <a:t>Date</a:t>
            </a:r>
            <a:endParaRPr lang="de-DE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56838" y="1902364"/>
            <a:ext cx="390525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71592" y="483241"/>
            <a:ext cx="787296" cy="864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/>
            </a:lvl1pPr>
          </a:lstStyle>
          <a:p>
            <a:pPr lvl="0"/>
            <a:r>
              <a:rPr lang="nl-NL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60975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for l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solidFill>
            <a:srgbClr val="F2F2F2">
              <a:alpha val="7059"/>
            </a:srgbClr>
          </a:solidFill>
        </p:spPr>
        <p:txBody>
          <a:bodyPr>
            <a:normAutofit/>
          </a:bodyPr>
          <a:lstStyle>
            <a:lvl1pPr marL="0" indent="0" algn="r">
              <a:buNone/>
              <a:defRPr sz="1600" baseline="0"/>
            </a:lvl1pPr>
          </a:lstStyle>
          <a:p>
            <a:r>
              <a:rPr lang="de-DE" dirty="0"/>
              <a:t>Click on icon to selec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314" y="1932754"/>
            <a:ext cx="5086333" cy="2010596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nl-NL" dirty="0"/>
              <a:t>Click to edit Master title style</a:t>
            </a:r>
            <a:endParaRPr lang="de-DE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72714" y="4450739"/>
            <a:ext cx="5112709" cy="448866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  <a:endParaRPr lang="de-DE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71592" y="483241"/>
            <a:ext cx="787296" cy="864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/>
            </a:lvl1pPr>
          </a:lstStyle>
          <a:p>
            <a:pPr lvl="0"/>
            <a:r>
              <a:rPr lang="nl-NL"/>
              <a:t>Click to edit Master text styles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23789328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for dar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r">
              <a:buNone/>
              <a:defRPr sz="1600" baseline="0"/>
            </a:lvl1pPr>
          </a:lstStyle>
          <a:p>
            <a:r>
              <a:rPr lang="de-DE" dirty="0"/>
              <a:t>Click on icon to selec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314" y="1932754"/>
            <a:ext cx="5086333" cy="2010596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nl-NL"/>
              <a:t>Click to edit Master title style</a:t>
            </a:r>
            <a:endParaRPr lang="de-DE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79064" y="4450739"/>
            <a:ext cx="5112709" cy="448866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  <a:endParaRPr lang="de-DE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71600" y="457199"/>
            <a:ext cx="788400" cy="864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1992361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314" y="1932754"/>
            <a:ext cx="5086333" cy="1186319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nl-NL"/>
              <a:t>Click to edit Master title style</a:t>
            </a:r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60014" y="3323035"/>
            <a:ext cx="5086333" cy="93702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3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  <a:endParaRPr lang="de-D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312" y="477871"/>
            <a:ext cx="793751" cy="864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6354" y="2059638"/>
            <a:ext cx="3191434" cy="3191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1801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16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2580" y="99501"/>
            <a:ext cx="7928508" cy="46275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5235647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2580" y="99501"/>
            <a:ext cx="7928508" cy="462759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Title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0" indent="0">
              <a:buNone/>
              <a:defRPr b="1"/>
            </a:lvl1pPr>
            <a:lvl2pPr marL="360363" indent="-360363">
              <a:buFont typeface="+mj-lt"/>
              <a:buAutoNum type="arabicPeriod"/>
              <a:defRPr/>
            </a:lvl2pPr>
            <a:lvl3pPr marL="536575" indent="-171450">
              <a:defRPr/>
            </a:lvl3pPr>
            <a:lvl4pPr marL="720725" indent="-171450">
              <a:tabLst/>
              <a:defRPr/>
            </a:lvl4pPr>
            <a:lvl5pPr marL="896938" indent="-171450">
              <a:defRPr/>
            </a:lvl5pPr>
          </a:lstStyle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2328744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37C794-9836-4BB8-B517-A3E588757FD1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72580" y="766554"/>
            <a:ext cx="4231218" cy="3568909"/>
          </a:xfrm>
        </p:spPr>
        <p:txBody>
          <a:bodyPr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1800" b="0"/>
            </a:lvl1pPr>
            <a:lvl2pPr marL="273050" indent="-273050">
              <a:lnSpc>
                <a:spcPts val="2600"/>
              </a:lnSpc>
              <a:spcBef>
                <a:spcPts val="0"/>
              </a:spcBef>
              <a:buFont typeface="+mj-lt"/>
              <a:buAutoNum type="arabicPeriod"/>
              <a:defRPr sz="1800"/>
            </a:lvl2pPr>
            <a:lvl3pPr marL="536575" indent="-171450">
              <a:lnSpc>
                <a:spcPts val="2600"/>
              </a:lnSpc>
              <a:spcBef>
                <a:spcPts val="0"/>
              </a:spcBef>
              <a:defRPr sz="1800"/>
            </a:lvl3pPr>
            <a:lvl4pPr marL="720725" indent="-171450">
              <a:lnSpc>
                <a:spcPts val="2600"/>
              </a:lnSpc>
              <a:spcBef>
                <a:spcPts val="0"/>
              </a:spcBef>
              <a:tabLst/>
              <a:defRPr sz="1800"/>
            </a:lvl4pPr>
            <a:lvl5pPr marL="896938" indent="-171450">
              <a:lnSpc>
                <a:spcPts val="2600"/>
              </a:lnSpc>
              <a:spcBef>
                <a:spcPts val="0"/>
              </a:spcBef>
              <a:defRPr sz="1800"/>
            </a:lvl5pPr>
          </a:lstStyle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486400" y="0"/>
            <a:ext cx="3657600" cy="51435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Drag picture to placeholder or click icon to add</a:t>
            </a:r>
            <a:endParaRPr lang="de-DE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2580" y="64291"/>
            <a:ext cx="4713820" cy="462759"/>
          </a:xfrm>
        </p:spPr>
        <p:txBody>
          <a:bodyPr/>
          <a:lstStyle>
            <a:lvl1pPr>
              <a:defRPr sz="2800"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de-DE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3478" y="4442222"/>
            <a:ext cx="3963074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773225" cy="110153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40307425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for dar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r">
              <a:buNone/>
              <a:defRPr sz="1600" baseline="0"/>
            </a:lvl1pPr>
          </a:lstStyle>
          <a:p>
            <a:r>
              <a:rPr lang="de-DE" dirty="0"/>
              <a:t>Click on icon to selec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314" y="1932754"/>
            <a:ext cx="5086333" cy="2010596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nl-NL"/>
              <a:t>Click to edit Master title style</a:t>
            </a:r>
            <a:endParaRPr lang="de-DE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79064" y="4450739"/>
            <a:ext cx="5112709" cy="448866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  <a:endParaRPr lang="de-DE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71600" y="457199"/>
            <a:ext cx="788400" cy="864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8992949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Drag picture to placeholder or click icon to add</a:t>
            </a:r>
            <a:endParaRPr lang="de-DE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1" y="689867"/>
            <a:ext cx="4528233" cy="2830088"/>
          </a:xfrm>
        </p:spPr>
        <p:txBody>
          <a:bodyPr lIns="0"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Quote”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97941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689452"/>
            <a:ext cx="6248399" cy="2830088"/>
          </a:xfrm>
        </p:spPr>
        <p:txBody>
          <a:bodyPr lIns="0" tIns="0" rIns="0"/>
          <a:lstStyle>
            <a:lvl1pPr>
              <a:defRPr>
                <a:solidFill>
                  <a:srgbClr val="FF6C00"/>
                </a:solidFill>
              </a:defRPr>
            </a:lvl1pPr>
          </a:lstStyle>
          <a:p>
            <a:r>
              <a:rPr lang="en-US" dirty="0"/>
              <a:t>“Quote”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/>
            </a:lvl1pPr>
          </a:lstStyle>
          <a:p>
            <a:fld id="{6D1D48CE-7E88-4572-BCC4-7E906C5C538A}" type="datetime1">
              <a:rPr lang="nl-NL" smtClean="0"/>
              <a:pPr/>
              <a:t>28-10-2019</a:t>
            </a:fld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11035510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/>
            </a:lvl1pPr>
          </a:lstStyle>
          <a:p>
            <a:fld id="{1422AA6E-A2C9-49E6-8BDC-DE3BAA9F9A4C}" type="datetime1">
              <a:rPr lang="nl-NL" smtClean="0"/>
              <a:pPr/>
              <a:t>28-10-2019</a:t>
            </a:fld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4438" y="772208"/>
            <a:ext cx="4231218" cy="3571160"/>
          </a:xfrm>
        </p:spPr>
        <p:txBody>
          <a:bodyPr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1800" b="0"/>
            </a:lvl1pPr>
            <a:lvl2pPr marL="273050" indent="-273050">
              <a:lnSpc>
                <a:spcPts val="2600"/>
              </a:lnSpc>
              <a:spcBef>
                <a:spcPts val="0"/>
              </a:spcBef>
              <a:buFont typeface="+mj-lt"/>
              <a:buAutoNum type="arabicPeriod"/>
              <a:defRPr sz="1800"/>
            </a:lvl2pPr>
            <a:lvl3pPr marL="536575" indent="-171450">
              <a:lnSpc>
                <a:spcPts val="2600"/>
              </a:lnSpc>
              <a:spcBef>
                <a:spcPts val="0"/>
              </a:spcBef>
              <a:defRPr sz="1800"/>
            </a:lvl3pPr>
            <a:lvl4pPr marL="720725" indent="-171450">
              <a:lnSpc>
                <a:spcPts val="2600"/>
              </a:lnSpc>
              <a:spcBef>
                <a:spcPts val="0"/>
              </a:spcBef>
              <a:tabLst/>
              <a:defRPr sz="1800"/>
            </a:lvl4pPr>
            <a:lvl5pPr marL="896938" indent="-171450">
              <a:lnSpc>
                <a:spcPts val="2600"/>
              </a:lnSpc>
              <a:spcBef>
                <a:spcPts val="0"/>
              </a:spcBef>
              <a:defRPr sz="1800"/>
            </a:lvl5pPr>
          </a:lstStyle>
          <a:p>
            <a:pPr lvl="0"/>
            <a:r>
              <a:rPr lang="nl-NL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s</a:t>
            </a:r>
            <a:endParaRPr lang="nl-NL" dirty="0"/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  <a:endParaRPr lang="de-DE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486400" y="1035844"/>
            <a:ext cx="3198282" cy="273605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Drag picture to placeholder or click icon to add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38" y="164875"/>
            <a:ext cx="7928508" cy="462759"/>
          </a:xfrm>
        </p:spPr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de-DE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38792418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/>
            </a:lvl1pPr>
          </a:lstStyle>
          <a:p>
            <a:fld id="{3C6FB3A4-7AA6-4BB5-9DAB-3BFB84ECB711}" type="datetime1">
              <a:rPr lang="nl-NL" smtClean="0"/>
              <a:pPr/>
              <a:t>28-10-2019</a:t>
            </a:fld>
            <a:endParaRPr lang="de-DE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72580" y="767870"/>
            <a:ext cx="4231218" cy="3561746"/>
          </a:xfrm>
        </p:spPr>
        <p:txBody>
          <a:bodyPr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1800" b="0"/>
            </a:lvl1pPr>
            <a:lvl2pPr marL="273050" indent="-273050">
              <a:lnSpc>
                <a:spcPts val="2600"/>
              </a:lnSpc>
              <a:spcBef>
                <a:spcPts val="0"/>
              </a:spcBef>
              <a:buFont typeface="+mj-lt"/>
              <a:buAutoNum type="arabicPeriod"/>
              <a:defRPr sz="1800"/>
            </a:lvl2pPr>
            <a:lvl3pPr marL="536575" indent="-171450">
              <a:lnSpc>
                <a:spcPts val="2600"/>
              </a:lnSpc>
              <a:spcBef>
                <a:spcPts val="0"/>
              </a:spcBef>
              <a:defRPr sz="1800"/>
            </a:lvl3pPr>
            <a:lvl4pPr marL="720725" indent="-171450">
              <a:lnSpc>
                <a:spcPts val="2600"/>
              </a:lnSpc>
              <a:spcBef>
                <a:spcPts val="0"/>
              </a:spcBef>
              <a:tabLst/>
              <a:defRPr sz="1800"/>
            </a:lvl4pPr>
            <a:lvl5pPr marL="896938" indent="-171450">
              <a:lnSpc>
                <a:spcPts val="2600"/>
              </a:lnSpc>
              <a:spcBef>
                <a:spcPts val="0"/>
              </a:spcBef>
              <a:defRPr sz="1800"/>
            </a:lvl5pPr>
          </a:lstStyle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448301" y="1021557"/>
            <a:ext cx="3227387" cy="27503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Click icon to add chart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0" y="64291"/>
            <a:ext cx="7928508" cy="462759"/>
          </a:xfrm>
        </p:spPr>
        <p:txBody>
          <a:bodyPr/>
          <a:lstStyle>
            <a:lvl1pPr>
              <a:defRPr sz="2800"/>
            </a:lvl1pPr>
          </a:lstStyle>
          <a:p>
            <a:r>
              <a:rPr lang="nl-NL" dirty="0"/>
              <a:t>Click to edit Master title style</a:t>
            </a:r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18753930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/>
            </a:lvl1pPr>
          </a:lstStyle>
          <a:p>
            <a:fld id="{E3C1D8A3-D733-4627-8E4E-108F9F7BDAD5}" type="datetime1">
              <a:rPr lang="nl-NL" smtClean="0"/>
              <a:pPr/>
              <a:t>28-10-2019</a:t>
            </a:fld>
            <a:endParaRPr lang="de-DE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863600" y="687571"/>
            <a:ext cx="7821082" cy="364789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Click icon to add chart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0" y="64291"/>
            <a:ext cx="7928508" cy="462759"/>
          </a:xfrm>
        </p:spPr>
        <p:txBody>
          <a:bodyPr/>
          <a:lstStyle>
            <a:lvl1pPr>
              <a:defRPr sz="2800"/>
            </a:lvl1pPr>
          </a:lstStyle>
          <a:p>
            <a:r>
              <a:rPr lang="nl-NL" dirty="0"/>
              <a:t>Click to edit Master title style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29550226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/>
            </a:lvl1pPr>
          </a:lstStyle>
          <a:p>
            <a:fld id="{9EC1AD90-5EF5-4966-8CC9-57299F80E2CB}" type="datetime1">
              <a:rPr lang="nl-NL" smtClean="0"/>
              <a:pPr/>
              <a:t>28-10-2019</a:t>
            </a:fld>
            <a:endParaRPr lang="de-DE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863600" y="733425"/>
            <a:ext cx="7821613" cy="357237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Click icon to add table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l-NL" dirty="0"/>
              <a:t>Click to edit Master title style</a:t>
            </a:r>
            <a:endParaRPr lang="de-DE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18925378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75889" y="4450739"/>
            <a:ext cx="5112709" cy="448866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Department</a:t>
            </a:r>
            <a:br>
              <a:rPr lang="en-US" dirty="0"/>
            </a:br>
            <a:r>
              <a:rPr lang="en-US" dirty="0"/>
              <a:t>Date</a:t>
            </a:r>
            <a:endParaRPr lang="de-DE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56838" y="1902364"/>
            <a:ext cx="390525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71592" y="483241"/>
            <a:ext cx="787296" cy="864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/>
            </a:lvl1pPr>
          </a:lstStyle>
          <a:p>
            <a:pPr lvl="0"/>
            <a:r>
              <a:rPr lang="nl-NL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19825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25082"/>
            <a:ext cx="8238318" cy="3673610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35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2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/>
        </p:nvSpPr>
        <p:spPr>
          <a:xfrm>
            <a:off x="8474338" y="-5741"/>
            <a:ext cx="587784" cy="265892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525" dirty="0">
                <a:solidFill>
                  <a:prstClr val="white"/>
                </a:solidFill>
              </a:rPr>
              <a:t>   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2" y="528906"/>
            <a:ext cx="8238319" cy="3139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37548" y="64228"/>
            <a:ext cx="371057" cy="170698"/>
          </a:xfrm>
          <a:prstGeom prst="rect">
            <a:avLst/>
          </a:prstGeom>
        </p:spPr>
        <p:txBody>
          <a:bodyPr/>
          <a:lstStyle>
            <a:lvl1pPr>
              <a:defRPr sz="825"/>
            </a:lvl1pPr>
          </a:lstStyle>
          <a:p>
            <a:pPr defTabSz="684998"/>
            <a:fld id="{E7307C6B-4547-4C49-B1C8-00EAC792C2F6}" type="slidenum">
              <a:rPr lang="en-US" smtClean="0">
                <a:solidFill>
                  <a:prstClr val="white"/>
                </a:solidFill>
              </a:rPr>
              <a:pPr defTabSz="68499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4720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196D7E-876A-413C-8B53-B230B4FF5C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196D7E-876A-413C-8B53-B230B4FF5C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 txBox="1">
            <a:spLocks/>
          </p:cNvSpPr>
          <p:nvPr userDrawn="1"/>
        </p:nvSpPr>
        <p:spPr>
          <a:xfrm>
            <a:off x="8474338" y="-5731"/>
            <a:ext cx="587784" cy="265892"/>
          </a:xfrm>
          <a:prstGeom prst="rect">
            <a:avLst/>
          </a:prstGeom>
        </p:spPr>
        <p:txBody>
          <a:bodyPr vert="horz" lIns="68482" tIns="34241" rIns="68482" bIns="34241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dirty="0">
                <a:solidFill>
                  <a:prstClr val="white"/>
                </a:solidFill>
              </a:rPr>
              <a:t>   |   </a:t>
            </a:r>
            <a:fld id="{DA15E891-66B8-4B28-AB8F-05A4B1DE573C}" type="slidenum">
              <a:rPr lang="en-US" sz="600" smtClean="0">
                <a:solidFill>
                  <a:prstClr val="white"/>
                </a:solidFill>
              </a:rPr>
              <a:pPr/>
              <a:t>‹#›</a:t>
            </a:fld>
            <a:endParaRPr lang="en-US" sz="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35906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for l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solidFill>
            <a:srgbClr val="F2F2F2">
              <a:alpha val="7059"/>
            </a:srgbClr>
          </a:solidFill>
        </p:spPr>
        <p:txBody>
          <a:bodyPr>
            <a:normAutofit/>
          </a:bodyPr>
          <a:lstStyle>
            <a:lvl1pPr marL="0" indent="0" algn="r">
              <a:buNone/>
              <a:defRPr sz="1600" baseline="0"/>
            </a:lvl1pPr>
          </a:lstStyle>
          <a:p>
            <a:r>
              <a:rPr lang="de-DE" dirty="0"/>
              <a:t>Click on icon to selec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315" y="1932754"/>
            <a:ext cx="5086333" cy="2010596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nl-NL" dirty="0"/>
              <a:t>Click to edit Master title style</a:t>
            </a:r>
            <a:endParaRPr lang="de-DE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72715" y="4450739"/>
            <a:ext cx="5112709" cy="448866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  <a:endParaRPr lang="de-DE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71592" y="483241"/>
            <a:ext cx="787296" cy="864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/>
            </a:lvl1pPr>
          </a:lstStyle>
          <a:p>
            <a:pPr lvl="0"/>
            <a:r>
              <a:rPr lang="nl-NL"/>
              <a:t>Click to edit Master text styles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421119" y="4675173"/>
            <a:ext cx="24897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42931473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314" y="1932754"/>
            <a:ext cx="5086333" cy="1186319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nl-NL"/>
              <a:t>Click to edit Master title style</a:t>
            </a:r>
            <a:endParaRPr lang="de-DE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66364" y="4450739"/>
            <a:ext cx="5112709" cy="448866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60014" y="3323035"/>
            <a:ext cx="5086333" cy="93702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3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  <a:endParaRPr lang="de-D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312" y="477871"/>
            <a:ext cx="793751" cy="864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6354" y="2059638"/>
            <a:ext cx="3191434" cy="3191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7162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162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for dark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r">
              <a:buNone/>
              <a:defRPr sz="1600" baseline="0"/>
            </a:lvl1pPr>
          </a:lstStyle>
          <a:p>
            <a:r>
              <a:rPr lang="de-DE" dirty="0"/>
              <a:t>Click on icon to selec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315" y="1932754"/>
            <a:ext cx="5086333" cy="2010596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nl-NL"/>
              <a:t>Click to edit Master title style</a:t>
            </a:r>
            <a:endParaRPr lang="de-DE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79065" y="4450739"/>
            <a:ext cx="5112709" cy="448866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Month, year</a:t>
            </a:r>
            <a:br>
              <a:rPr lang="en-US" dirty="0"/>
            </a:br>
            <a:r>
              <a:rPr lang="en-US" dirty="0"/>
              <a:t>Name presenter</a:t>
            </a:r>
            <a:endParaRPr lang="de-DE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71600" y="457199"/>
            <a:ext cx="788400" cy="864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6421119" y="4675173"/>
            <a:ext cx="24897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31967732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7315" y="1932755"/>
            <a:ext cx="5086333" cy="1186319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nl-NL"/>
              <a:t>Click to edit Master title style</a:t>
            </a:r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60015" y="3323035"/>
            <a:ext cx="5086333" cy="93702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3000">
                <a:solidFill>
                  <a:srgbClr val="FF6C00"/>
                </a:solidFill>
              </a:defRPr>
            </a:lvl1pPr>
            <a:lvl2pPr marL="342892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783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675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566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  <a:endParaRPr lang="de-D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313" y="477871"/>
            <a:ext cx="793751" cy="864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6354" y="2059638"/>
            <a:ext cx="3191434" cy="3191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4339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16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2580" y="99502"/>
            <a:ext cx="7928508" cy="46275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3479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421119" y="4675173"/>
            <a:ext cx="24897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25125385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2580" y="99502"/>
            <a:ext cx="7928508" cy="462759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Title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0" indent="0">
              <a:buNone/>
              <a:defRPr b="1"/>
            </a:lvl1pPr>
            <a:lvl2pPr marL="360354" indent="-360354">
              <a:buFont typeface="+mj-lt"/>
              <a:buAutoNum type="arabicPeriod"/>
              <a:defRPr/>
            </a:lvl2pPr>
            <a:lvl3pPr marL="536561" indent="-171446">
              <a:defRPr/>
            </a:lvl3pPr>
            <a:lvl4pPr marL="720707" indent="-171446">
              <a:tabLst/>
              <a:defRPr/>
            </a:lvl4pPr>
            <a:lvl5pPr marL="896915" indent="-171446">
              <a:defRPr/>
            </a:lvl5pPr>
          </a:lstStyle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3479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421119" y="4675173"/>
            <a:ext cx="24897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1412234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37C794-9836-4BB8-B517-A3E588757FD1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72580" y="766555"/>
            <a:ext cx="4231218" cy="3568909"/>
          </a:xfrm>
        </p:spPr>
        <p:txBody>
          <a:bodyPr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1800" b="0"/>
            </a:lvl1pPr>
            <a:lvl2pPr marL="273044" indent="-273044">
              <a:lnSpc>
                <a:spcPts val="2600"/>
              </a:lnSpc>
              <a:spcBef>
                <a:spcPts val="0"/>
              </a:spcBef>
              <a:buFont typeface="+mj-lt"/>
              <a:buAutoNum type="arabicPeriod"/>
              <a:defRPr sz="1800"/>
            </a:lvl2pPr>
            <a:lvl3pPr marL="536561" indent="-171446">
              <a:lnSpc>
                <a:spcPts val="2600"/>
              </a:lnSpc>
              <a:spcBef>
                <a:spcPts val="0"/>
              </a:spcBef>
              <a:defRPr sz="1800"/>
            </a:lvl3pPr>
            <a:lvl4pPr marL="720707" indent="-171446">
              <a:lnSpc>
                <a:spcPts val="2600"/>
              </a:lnSpc>
              <a:spcBef>
                <a:spcPts val="0"/>
              </a:spcBef>
              <a:tabLst/>
              <a:defRPr sz="1800"/>
            </a:lvl4pPr>
            <a:lvl5pPr marL="896915" indent="-171446">
              <a:lnSpc>
                <a:spcPts val="2600"/>
              </a:lnSpc>
              <a:spcBef>
                <a:spcPts val="0"/>
              </a:spcBef>
              <a:defRPr sz="1800"/>
            </a:lvl5pPr>
          </a:lstStyle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486400" y="0"/>
            <a:ext cx="3657600" cy="51435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Drag picture to placeholder or click icon to add</a:t>
            </a:r>
            <a:endParaRPr lang="de-DE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2581" y="64292"/>
            <a:ext cx="4713820" cy="462759"/>
          </a:xfrm>
        </p:spPr>
        <p:txBody>
          <a:bodyPr/>
          <a:lstStyle>
            <a:lvl1pPr>
              <a:defRPr sz="2800"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de-DE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3478" y="4442222"/>
            <a:ext cx="3963074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2" y="4717880"/>
            <a:ext cx="773225" cy="110153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6163859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Drag picture to placeholder or click icon to add</a:t>
            </a:r>
            <a:endParaRPr lang="de-DE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2" y="689868"/>
            <a:ext cx="4528233" cy="2830088"/>
          </a:xfrm>
        </p:spPr>
        <p:txBody>
          <a:bodyPr lIns="0"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Quote”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33303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2" y="689452"/>
            <a:ext cx="6248399" cy="2830088"/>
          </a:xfrm>
        </p:spPr>
        <p:txBody>
          <a:bodyPr lIns="0" tIns="0" rIns="0"/>
          <a:lstStyle>
            <a:lvl1pPr>
              <a:defRPr>
                <a:solidFill>
                  <a:srgbClr val="FF6C00"/>
                </a:solidFill>
              </a:defRPr>
            </a:lvl1pPr>
          </a:lstStyle>
          <a:p>
            <a:r>
              <a:rPr lang="en-US" dirty="0"/>
              <a:t>“Quote”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/>
            </a:lvl1pPr>
          </a:lstStyle>
          <a:p>
            <a:fld id="{6D1D48CE-7E88-4572-BCC4-7E906C5C538A}" type="datetime1">
              <a:rPr lang="nl-NL" smtClean="0"/>
              <a:pPr/>
              <a:t>28-10-2019</a:t>
            </a:fld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3479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6421119" y="4675173"/>
            <a:ext cx="24897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11755085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/>
            </a:lvl1pPr>
          </a:lstStyle>
          <a:p>
            <a:fld id="{1422AA6E-A2C9-49E6-8BDC-DE3BAA9F9A4C}" type="datetime1">
              <a:rPr lang="nl-NL" smtClean="0"/>
              <a:pPr/>
              <a:t>28-10-2019</a:t>
            </a:fld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4438" y="772209"/>
            <a:ext cx="4231218" cy="3571160"/>
          </a:xfrm>
        </p:spPr>
        <p:txBody>
          <a:bodyPr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1800" b="0"/>
            </a:lvl1pPr>
            <a:lvl2pPr marL="273044" indent="-273044">
              <a:lnSpc>
                <a:spcPts val="2600"/>
              </a:lnSpc>
              <a:spcBef>
                <a:spcPts val="0"/>
              </a:spcBef>
              <a:buFont typeface="+mj-lt"/>
              <a:buAutoNum type="arabicPeriod"/>
              <a:defRPr sz="1800"/>
            </a:lvl2pPr>
            <a:lvl3pPr marL="536561" indent="-171446">
              <a:lnSpc>
                <a:spcPts val="2600"/>
              </a:lnSpc>
              <a:spcBef>
                <a:spcPts val="0"/>
              </a:spcBef>
              <a:defRPr sz="1800"/>
            </a:lvl3pPr>
            <a:lvl4pPr marL="720707" indent="-171446">
              <a:lnSpc>
                <a:spcPts val="2600"/>
              </a:lnSpc>
              <a:spcBef>
                <a:spcPts val="0"/>
              </a:spcBef>
              <a:tabLst/>
              <a:defRPr sz="1800"/>
            </a:lvl4pPr>
            <a:lvl5pPr marL="896915" indent="-171446">
              <a:lnSpc>
                <a:spcPts val="2600"/>
              </a:lnSpc>
              <a:spcBef>
                <a:spcPts val="0"/>
              </a:spcBef>
              <a:defRPr sz="1800"/>
            </a:lvl5pPr>
          </a:lstStyle>
          <a:p>
            <a:pPr lvl="0"/>
            <a:r>
              <a:rPr lang="nl-NL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s</a:t>
            </a:r>
            <a:endParaRPr lang="nl-NL" dirty="0"/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  <a:endParaRPr lang="de-DE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486400" y="1035844"/>
            <a:ext cx="3198282" cy="273605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Drag picture to placeholder or click icon to add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38" y="164876"/>
            <a:ext cx="7928508" cy="462759"/>
          </a:xfrm>
        </p:spPr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de-DE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3479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6421119" y="4675173"/>
            <a:ext cx="24897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3915012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4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/>
            </a:lvl1pPr>
          </a:lstStyle>
          <a:p>
            <a:fld id="{3C6FB3A4-7AA6-4BB5-9DAB-3BFB84ECB711}" type="datetime1">
              <a:rPr lang="nl-NL" smtClean="0"/>
              <a:pPr/>
              <a:t>28-10-2019</a:t>
            </a:fld>
            <a:endParaRPr lang="de-DE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72580" y="767871"/>
            <a:ext cx="4231218" cy="3561746"/>
          </a:xfrm>
        </p:spPr>
        <p:txBody>
          <a:bodyPr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1800" b="0"/>
            </a:lvl1pPr>
            <a:lvl2pPr marL="273044" indent="-273044">
              <a:lnSpc>
                <a:spcPts val="2600"/>
              </a:lnSpc>
              <a:spcBef>
                <a:spcPts val="0"/>
              </a:spcBef>
              <a:buFont typeface="+mj-lt"/>
              <a:buAutoNum type="arabicPeriod"/>
              <a:defRPr sz="1800"/>
            </a:lvl2pPr>
            <a:lvl3pPr marL="536561" indent="-171446">
              <a:lnSpc>
                <a:spcPts val="2600"/>
              </a:lnSpc>
              <a:spcBef>
                <a:spcPts val="0"/>
              </a:spcBef>
              <a:defRPr sz="1800"/>
            </a:lvl3pPr>
            <a:lvl4pPr marL="720707" indent="-171446">
              <a:lnSpc>
                <a:spcPts val="2600"/>
              </a:lnSpc>
              <a:spcBef>
                <a:spcPts val="0"/>
              </a:spcBef>
              <a:tabLst/>
              <a:defRPr sz="1800"/>
            </a:lvl4pPr>
            <a:lvl5pPr marL="896915" indent="-171446">
              <a:lnSpc>
                <a:spcPts val="2600"/>
              </a:lnSpc>
              <a:spcBef>
                <a:spcPts val="0"/>
              </a:spcBef>
              <a:defRPr sz="1800"/>
            </a:lvl5pPr>
          </a:lstStyle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448302" y="1021557"/>
            <a:ext cx="3227387" cy="27503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Click icon to add chart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0" y="64292"/>
            <a:ext cx="7928508" cy="462759"/>
          </a:xfrm>
        </p:spPr>
        <p:txBody>
          <a:bodyPr/>
          <a:lstStyle>
            <a:lvl1pPr>
              <a:defRPr sz="2800"/>
            </a:lvl1pPr>
          </a:lstStyle>
          <a:p>
            <a:r>
              <a:rPr lang="nl-NL" dirty="0"/>
              <a:t>Click to edit Master title style</a:t>
            </a:r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3479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6421119" y="4675173"/>
            <a:ext cx="24897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2089090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/>
            </a:lvl1pPr>
          </a:lstStyle>
          <a:p>
            <a:fld id="{E3C1D8A3-D733-4627-8E4E-108F9F7BDAD5}" type="datetime1">
              <a:rPr lang="nl-NL" smtClean="0"/>
              <a:pPr/>
              <a:t>28-10-2019</a:t>
            </a:fld>
            <a:endParaRPr lang="de-DE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863601" y="687572"/>
            <a:ext cx="7821082" cy="364789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Click icon to add chart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0" y="64292"/>
            <a:ext cx="7928508" cy="462759"/>
          </a:xfrm>
        </p:spPr>
        <p:txBody>
          <a:bodyPr/>
          <a:lstStyle>
            <a:lvl1pPr>
              <a:defRPr sz="2800"/>
            </a:lvl1pPr>
          </a:lstStyle>
          <a:p>
            <a:r>
              <a:rPr lang="nl-NL" dirty="0"/>
              <a:t>Click to edit Master title style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3479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6421119" y="4675173"/>
            <a:ext cx="24897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24607235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46431" y="4550066"/>
            <a:ext cx="4500000" cy="135000"/>
          </a:xfrm>
        </p:spPr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12626083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/>
            </a:lvl1pPr>
          </a:lstStyle>
          <a:p>
            <a:fld id="{9EC1AD90-5EF5-4966-8CC9-57299F80E2CB}" type="datetime1">
              <a:rPr lang="nl-NL" smtClean="0"/>
              <a:pPr/>
              <a:t>28-10-2019</a:t>
            </a:fld>
            <a:endParaRPr lang="de-DE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863601" y="733426"/>
            <a:ext cx="7821613" cy="357237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Click icon to add table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l-NL" dirty="0"/>
              <a:t>Click to edit Master title style</a:t>
            </a:r>
            <a:endParaRPr lang="de-DE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3479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6421119" y="4675173"/>
            <a:ext cx="24897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20568114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75890" y="4450739"/>
            <a:ext cx="5112709" cy="448866"/>
          </a:xfrm>
        </p:spPr>
        <p:txBody>
          <a:bodyPr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 dirty="0"/>
              <a:t>Department</a:t>
            </a:r>
            <a:br>
              <a:rPr lang="en-US" dirty="0"/>
            </a:br>
            <a:r>
              <a:rPr lang="en-US" dirty="0"/>
              <a:t>Date</a:t>
            </a:r>
            <a:endParaRPr lang="de-DE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56838" y="1902364"/>
            <a:ext cx="390525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9" y="1283679"/>
            <a:ext cx="3859822" cy="3859822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71592" y="483241"/>
            <a:ext cx="787296" cy="864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/>
            </a:lvl1pPr>
          </a:lstStyle>
          <a:p>
            <a:pPr lvl="0"/>
            <a:r>
              <a:rPr lang="nl-NL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96061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0" indent="0">
              <a:buNone/>
              <a:defRPr b="1"/>
            </a:lvl1pPr>
            <a:lvl2pPr marL="360363" indent="-360363">
              <a:buFont typeface="+mj-lt"/>
              <a:buAutoNum type="arabicPeriod"/>
              <a:defRPr/>
            </a:lvl2pPr>
            <a:lvl3pPr marL="536575" indent="-171450">
              <a:defRPr/>
            </a:lvl3pPr>
            <a:lvl4pPr marL="720725" indent="-171450">
              <a:tabLst/>
              <a:defRPr/>
            </a:lvl4pPr>
            <a:lvl5pPr marL="896938" indent="-171450">
              <a:defRPr/>
            </a:lvl5pPr>
          </a:lstStyle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46431" y="4550066"/>
            <a:ext cx="4500000" cy="135000"/>
          </a:xfrm>
        </p:spPr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1904437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37C794-9836-4BB8-B517-A3E588757FD1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72580" y="766554"/>
            <a:ext cx="4231218" cy="3568909"/>
          </a:xfrm>
        </p:spPr>
        <p:txBody>
          <a:bodyPr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1800" b="0"/>
            </a:lvl1pPr>
            <a:lvl2pPr marL="273050" indent="-273050">
              <a:lnSpc>
                <a:spcPts val="2600"/>
              </a:lnSpc>
              <a:spcBef>
                <a:spcPts val="0"/>
              </a:spcBef>
              <a:buFont typeface="+mj-lt"/>
              <a:buAutoNum type="arabicPeriod"/>
              <a:defRPr sz="1800"/>
            </a:lvl2pPr>
            <a:lvl3pPr marL="536575" indent="-171450">
              <a:lnSpc>
                <a:spcPts val="2600"/>
              </a:lnSpc>
              <a:spcBef>
                <a:spcPts val="0"/>
              </a:spcBef>
              <a:defRPr sz="1800"/>
            </a:lvl3pPr>
            <a:lvl4pPr marL="720725" indent="-171450">
              <a:lnSpc>
                <a:spcPts val="2600"/>
              </a:lnSpc>
              <a:spcBef>
                <a:spcPts val="0"/>
              </a:spcBef>
              <a:tabLst/>
              <a:defRPr sz="1800"/>
            </a:lvl4pPr>
            <a:lvl5pPr marL="896938" indent="-171450">
              <a:lnSpc>
                <a:spcPts val="2600"/>
              </a:lnSpc>
              <a:spcBef>
                <a:spcPts val="0"/>
              </a:spcBef>
              <a:defRPr sz="1800"/>
            </a:lvl5pPr>
          </a:lstStyle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486400" y="0"/>
            <a:ext cx="3657600" cy="51435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Drag picture to placeholder or click icon to add</a:t>
            </a:r>
            <a:endParaRPr lang="de-DE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2580" y="64291"/>
            <a:ext cx="4713820" cy="462759"/>
          </a:xfrm>
        </p:spPr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de-DE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3478" y="4442222"/>
            <a:ext cx="3963074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773225" cy="110153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46431" y="4550066"/>
            <a:ext cx="3379265" cy="95086"/>
          </a:xfrm>
        </p:spPr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231835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l-NL"/>
              <a:t>Drag picture to placeholder or click icon to add</a:t>
            </a:r>
            <a:endParaRPr lang="de-DE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601" y="689867"/>
            <a:ext cx="4528233" cy="2830088"/>
          </a:xfrm>
        </p:spPr>
        <p:txBody>
          <a:bodyPr lIns="0"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Quote”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5032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1" y="689452"/>
            <a:ext cx="6248399" cy="2830088"/>
          </a:xfrm>
        </p:spPr>
        <p:txBody>
          <a:bodyPr lIns="0" tIns="0" rIns="0"/>
          <a:lstStyle>
            <a:lvl1pPr>
              <a:defRPr>
                <a:solidFill>
                  <a:srgbClr val="FF6C00"/>
                </a:solidFill>
              </a:defRPr>
            </a:lvl1pPr>
          </a:lstStyle>
          <a:p>
            <a:r>
              <a:rPr lang="en-US" dirty="0"/>
              <a:t>“Quote”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D48CE-7E88-4572-BCC4-7E906C5C538A}" type="datetime1">
              <a:rPr lang="nl-NL" smtClean="0"/>
              <a:t>28-10-2019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tle (change with Header &amp; footer button)</a:t>
            </a:r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9378165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2AA6E-A2C9-49E6-8BDC-DE3BAA9F9A4C}" type="datetime1">
              <a:rPr lang="nl-NL" smtClean="0"/>
              <a:t>28-10-2019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tle (change with Header &amp; footer button)</a:t>
            </a:r>
            <a:endParaRPr lang="de-DE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4438" y="772208"/>
            <a:ext cx="4231218" cy="3571160"/>
          </a:xfrm>
        </p:spPr>
        <p:txBody>
          <a:bodyPr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1800" b="0"/>
            </a:lvl1pPr>
            <a:lvl2pPr marL="273050" indent="-273050">
              <a:lnSpc>
                <a:spcPts val="2600"/>
              </a:lnSpc>
              <a:spcBef>
                <a:spcPts val="0"/>
              </a:spcBef>
              <a:buFont typeface="+mj-lt"/>
              <a:buAutoNum type="arabicPeriod"/>
              <a:defRPr sz="1800"/>
            </a:lvl2pPr>
            <a:lvl3pPr marL="536575" indent="-171450">
              <a:lnSpc>
                <a:spcPts val="2600"/>
              </a:lnSpc>
              <a:spcBef>
                <a:spcPts val="0"/>
              </a:spcBef>
              <a:defRPr sz="1800"/>
            </a:lvl3pPr>
            <a:lvl4pPr marL="720725" indent="-171450">
              <a:lnSpc>
                <a:spcPts val="2600"/>
              </a:lnSpc>
              <a:spcBef>
                <a:spcPts val="0"/>
              </a:spcBef>
              <a:tabLst/>
              <a:defRPr sz="1800"/>
            </a:lvl4pPr>
            <a:lvl5pPr marL="896938" indent="-171450">
              <a:lnSpc>
                <a:spcPts val="2600"/>
              </a:lnSpc>
              <a:spcBef>
                <a:spcPts val="0"/>
              </a:spcBef>
              <a:defRPr sz="1800"/>
            </a:lvl5pPr>
          </a:lstStyle>
          <a:p>
            <a:pPr lvl="0"/>
            <a:r>
              <a:rPr lang="nl-NL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s</a:t>
            </a:r>
            <a:endParaRPr lang="nl-NL" dirty="0"/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  <a:endParaRPr lang="de-DE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486400" y="1035844"/>
            <a:ext cx="3198282" cy="273605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nl-NL"/>
              <a:t>Drag picture to placeholder or click icon to add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38" y="164875"/>
            <a:ext cx="7928508" cy="462759"/>
          </a:xfrm>
        </p:spPr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de-DE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3478" y="4442222"/>
            <a:ext cx="8231205" cy="0"/>
          </a:xfrm>
          <a:prstGeom prst="line">
            <a:avLst/>
          </a:prstGeom>
          <a:ln w="12700">
            <a:solidFill>
              <a:srgbClr val="DCDCD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6421120" y="4675172"/>
            <a:ext cx="24897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dirty="0">
                <a:solidFill>
                  <a:srgbClr val="FF6C00"/>
                </a:solidFill>
              </a:rPr>
              <a:t>www.elsevier.com/about/open-science</a:t>
            </a:r>
          </a:p>
        </p:txBody>
      </p:sp>
    </p:spTree>
    <p:extLst>
      <p:ext uri="{BB962C8B-B14F-4D97-AF65-F5344CB8AC3E}">
        <p14:creationId xmlns:p14="http://schemas.microsoft.com/office/powerpoint/2010/main" val="8031820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4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72580" y="64291"/>
            <a:ext cx="7928508" cy="462759"/>
          </a:xfrm>
          <a:prstGeom prst="rect">
            <a:avLst/>
          </a:prstGeom>
        </p:spPr>
        <p:txBody>
          <a:bodyPr vert="horz" lIns="91440" tIns="0" rIns="91440" bIns="0" rtlCol="0" anchor="t" anchorCtr="0">
            <a:noAutofit/>
          </a:bodyPr>
          <a:lstStyle/>
          <a:p>
            <a:r>
              <a:rPr lang="nl-NL"/>
              <a:t>Click to edit Master title sty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2580" y="700088"/>
            <a:ext cx="7928508" cy="3635375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65887" y="4727023"/>
            <a:ext cx="3086100" cy="135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400">
                <a:solidFill>
                  <a:srgbClr val="CACBCC"/>
                </a:solidFill>
              </a:defRPr>
            </a:lvl1pPr>
          </a:lstStyle>
          <a:p>
            <a:fld id="{019C06A9-59DA-41C9-A429-2453BDE6755A}" type="datetime1">
              <a:rPr lang="nl-NL" smtClean="0"/>
              <a:pPr/>
              <a:t>28-10-2019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65887" y="4550066"/>
            <a:ext cx="4500000" cy="135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400">
                <a:solidFill>
                  <a:srgbClr val="CACBCC"/>
                </a:solidFill>
              </a:defRPr>
            </a:lvl1pPr>
          </a:lstStyle>
          <a:p>
            <a:r>
              <a:rPr lang="en-US" dirty="0"/>
              <a:t>Title (change with Header &amp; footer button)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8938" y="4846460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37C794-9836-4BB8-B517-A3E588757FD1}" type="slidenum">
              <a:rPr lang="de-DE" smtClean="0"/>
              <a:t>‹#›</a:t>
            </a:fld>
            <a:endParaRPr lang="de-D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313" y="4557156"/>
            <a:ext cx="401839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55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</p:sldLayoutIdLst>
  <p:hf sldNum="0" hdr="0"/>
  <p:txStyles>
    <p:titleStyle>
      <a:lvl1pPr algn="l" defTabSz="685800" rtl="0" eaLnBrk="1" latinLnBrk="0" hangingPunct="1">
        <a:lnSpc>
          <a:spcPts val="48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685800" rtl="0" eaLnBrk="1" latinLnBrk="0" hangingPunct="1">
        <a:lnSpc>
          <a:spcPts val="3400"/>
        </a:lnSpc>
        <a:spcBef>
          <a:spcPts val="0"/>
        </a:spcBef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ts val="3400"/>
        </a:lnSpc>
        <a:spcBef>
          <a:spcPts val="375"/>
        </a:spcBef>
        <a:buClr>
          <a:srgbClr val="FF6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ts val="3400"/>
        </a:lnSpc>
        <a:spcBef>
          <a:spcPts val="375"/>
        </a:spcBef>
        <a:buClr>
          <a:srgbClr val="FF6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ts val="3400"/>
        </a:lnSpc>
        <a:spcBef>
          <a:spcPts val="375"/>
        </a:spcBef>
        <a:buClr>
          <a:srgbClr val="FF6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ts val="3400"/>
        </a:lnSpc>
        <a:spcBef>
          <a:spcPts val="375"/>
        </a:spcBef>
        <a:buClr>
          <a:srgbClr val="FF6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465" userDrawn="1">
          <p15:clr>
            <a:srgbClr val="F26B43"/>
          </p15:clr>
        </p15:guide>
        <p15:guide id="2" pos="544" userDrawn="1">
          <p15:clr>
            <a:srgbClr val="F26B43"/>
          </p15:clr>
        </p15:guide>
        <p15:guide id="3" orient="horz" pos="327" userDrawn="1">
          <p15:clr>
            <a:srgbClr val="F26B43"/>
          </p15:clr>
        </p15:guide>
        <p15:guide id="4" orient="horz" pos="531" userDrawn="1">
          <p15:clr>
            <a:srgbClr val="F26B43"/>
          </p15:clr>
        </p15:guide>
        <p15:guide id="5" orient="horz" pos="2731" userDrawn="1">
          <p15:clr>
            <a:srgbClr val="F26B43"/>
          </p15:clr>
        </p15:guide>
        <p15:guide id="6" pos="793" userDrawn="1">
          <p15:clr>
            <a:srgbClr val="F26B43"/>
          </p15:clr>
        </p15:guide>
        <p15:guide id="7" pos="29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72580" y="64291"/>
            <a:ext cx="7928508" cy="462759"/>
          </a:xfrm>
          <a:prstGeom prst="rect">
            <a:avLst/>
          </a:prstGeom>
        </p:spPr>
        <p:txBody>
          <a:bodyPr vert="horz" lIns="91440" tIns="0" rIns="91440" bIns="0" rtlCol="0" anchor="t" anchorCtr="0">
            <a:noAutofit/>
          </a:bodyPr>
          <a:lstStyle/>
          <a:p>
            <a:r>
              <a:rPr lang="nl-NL"/>
              <a:t>Click to edit Master title sty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2580" y="700088"/>
            <a:ext cx="7928508" cy="3635375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65887" y="4727023"/>
            <a:ext cx="3086100" cy="135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400">
                <a:solidFill>
                  <a:srgbClr val="CACBCC"/>
                </a:solidFill>
              </a:defRPr>
            </a:lvl1pPr>
          </a:lstStyle>
          <a:p>
            <a:fld id="{019C06A9-59DA-41C9-A429-2453BDE6755A}" type="datetime1">
              <a:rPr lang="nl-NL" smtClean="0"/>
              <a:pPr/>
              <a:t>28-10-2019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65887" y="4550066"/>
            <a:ext cx="4500000" cy="135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400">
                <a:solidFill>
                  <a:srgbClr val="CACBCC"/>
                </a:solidFill>
              </a:defRPr>
            </a:lvl1pPr>
          </a:lstStyle>
          <a:p>
            <a:r>
              <a:rPr lang="en-US" dirty="0"/>
              <a:t>Title (change with Header &amp; footer button)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8938" y="4846460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37C794-9836-4BB8-B517-A3E588757FD1}" type="slidenum">
              <a:rPr lang="de-DE" smtClean="0"/>
              <a:t>‹#›</a:t>
            </a:fld>
            <a:endParaRPr lang="de-D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313" y="4557156"/>
            <a:ext cx="401839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551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6" r:id="rId14"/>
    <p:sldLayoutId id="2147483687" r:id="rId15"/>
  </p:sldLayoutIdLst>
  <p:hf sldNum="0" hdr="0"/>
  <p:txStyles>
    <p:titleStyle>
      <a:lvl1pPr algn="l" defTabSz="685800" rtl="0" eaLnBrk="1" latinLnBrk="0" hangingPunct="1">
        <a:lnSpc>
          <a:spcPts val="48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685800" rtl="0" eaLnBrk="1" latinLnBrk="0" hangingPunct="1">
        <a:lnSpc>
          <a:spcPts val="3400"/>
        </a:lnSpc>
        <a:spcBef>
          <a:spcPts val="0"/>
        </a:spcBef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ts val="3400"/>
        </a:lnSpc>
        <a:spcBef>
          <a:spcPts val="375"/>
        </a:spcBef>
        <a:buClr>
          <a:srgbClr val="FF6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ts val="3400"/>
        </a:lnSpc>
        <a:spcBef>
          <a:spcPts val="375"/>
        </a:spcBef>
        <a:buClr>
          <a:srgbClr val="FF6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ts val="3400"/>
        </a:lnSpc>
        <a:spcBef>
          <a:spcPts val="375"/>
        </a:spcBef>
        <a:buClr>
          <a:srgbClr val="FF6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ts val="3400"/>
        </a:lnSpc>
        <a:spcBef>
          <a:spcPts val="375"/>
        </a:spcBef>
        <a:buClr>
          <a:srgbClr val="FF6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465">
          <p15:clr>
            <a:srgbClr val="F26B43"/>
          </p15:clr>
        </p15:guide>
        <p15:guide id="2" pos="544">
          <p15:clr>
            <a:srgbClr val="F26B43"/>
          </p15:clr>
        </p15:guide>
        <p15:guide id="3" orient="horz" pos="327">
          <p15:clr>
            <a:srgbClr val="F26B43"/>
          </p15:clr>
        </p15:guide>
        <p15:guide id="4" orient="horz" pos="531">
          <p15:clr>
            <a:srgbClr val="F26B43"/>
          </p15:clr>
        </p15:guide>
        <p15:guide id="5" orient="horz" pos="2731">
          <p15:clr>
            <a:srgbClr val="F26B43"/>
          </p15:clr>
        </p15:guide>
        <p15:guide id="6" pos="793">
          <p15:clr>
            <a:srgbClr val="F26B43"/>
          </p15:clr>
        </p15:guide>
        <p15:guide id="7" pos="29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72580" y="64292"/>
            <a:ext cx="7928508" cy="462759"/>
          </a:xfrm>
          <a:prstGeom prst="rect">
            <a:avLst/>
          </a:prstGeom>
        </p:spPr>
        <p:txBody>
          <a:bodyPr vert="horz" lIns="91440" tIns="0" rIns="91440" bIns="0" rtlCol="0" anchor="t" anchorCtr="0">
            <a:noAutofit/>
          </a:bodyPr>
          <a:lstStyle/>
          <a:p>
            <a:r>
              <a:rPr lang="nl-NL"/>
              <a:t>Click to edit Master title sty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2580" y="700089"/>
            <a:ext cx="7928508" cy="3635375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65887" y="4727023"/>
            <a:ext cx="3086100" cy="135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400">
                <a:solidFill>
                  <a:srgbClr val="CACBCC"/>
                </a:solidFill>
              </a:defRPr>
            </a:lvl1pPr>
          </a:lstStyle>
          <a:p>
            <a:fld id="{019C06A9-59DA-41C9-A429-2453BDE6755A}" type="datetime1">
              <a:rPr lang="nl-NL" smtClean="0"/>
              <a:pPr/>
              <a:t>28-10-2019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65887" y="4550066"/>
            <a:ext cx="4500000" cy="135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400">
                <a:solidFill>
                  <a:srgbClr val="CACBCC"/>
                </a:solidFill>
              </a:defRPr>
            </a:lvl1pPr>
          </a:lstStyle>
          <a:p>
            <a:r>
              <a:rPr lang="en-US" dirty="0"/>
              <a:t>Title (change with Header &amp; footer button)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38938" y="4846460"/>
            <a:ext cx="2057400" cy="135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37C794-9836-4BB8-B517-A3E588757FD1}" type="slidenum">
              <a:rPr lang="de-DE" smtClean="0"/>
              <a:t>‹#›</a:t>
            </a:fld>
            <a:endParaRPr lang="de-D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314" y="4557157"/>
            <a:ext cx="401839" cy="444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160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</p:sldLayoutIdLst>
  <p:hf sldNum="0" hdr="0"/>
  <p:txStyles>
    <p:titleStyle>
      <a:lvl1pPr algn="l" defTabSz="685783" rtl="0" eaLnBrk="1" latinLnBrk="0" hangingPunct="1">
        <a:lnSpc>
          <a:spcPts val="48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693" indent="-266693" algn="l" defTabSz="685783" rtl="0" eaLnBrk="1" latinLnBrk="0" hangingPunct="1">
        <a:lnSpc>
          <a:spcPts val="3400"/>
        </a:lnSpc>
        <a:spcBef>
          <a:spcPts val="0"/>
        </a:spcBef>
        <a:buClr>
          <a:srgbClr val="FF6C00"/>
        </a:buClr>
        <a:buFont typeface="Arial" panose="020B0604020202020204" pitchFamily="34" charset="0"/>
        <a:buChar char="•"/>
        <a:tabLst>
          <a:tab pos="266693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ts val="3400"/>
        </a:lnSpc>
        <a:spcBef>
          <a:spcPts val="375"/>
        </a:spcBef>
        <a:buClr>
          <a:srgbClr val="FF6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ts val="3400"/>
        </a:lnSpc>
        <a:spcBef>
          <a:spcPts val="375"/>
        </a:spcBef>
        <a:buClr>
          <a:srgbClr val="FF6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ts val="3400"/>
        </a:lnSpc>
        <a:spcBef>
          <a:spcPts val="375"/>
        </a:spcBef>
        <a:buClr>
          <a:srgbClr val="FF6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ts val="3400"/>
        </a:lnSpc>
        <a:spcBef>
          <a:spcPts val="375"/>
        </a:spcBef>
        <a:buClr>
          <a:srgbClr val="FF6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465">
          <p15:clr>
            <a:srgbClr val="F26B43"/>
          </p15:clr>
        </p15:guide>
        <p15:guide id="2" pos="544">
          <p15:clr>
            <a:srgbClr val="F26B43"/>
          </p15:clr>
        </p15:guide>
        <p15:guide id="3" orient="horz" pos="327">
          <p15:clr>
            <a:srgbClr val="F26B43"/>
          </p15:clr>
        </p15:guide>
        <p15:guide id="4" orient="horz" pos="531">
          <p15:clr>
            <a:srgbClr val="F26B43"/>
          </p15:clr>
        </p15:guide>
        <p15:guide id="5" orient="horz" pos="2731">
          <p15:clr>
            <a:srgbClr val="F26B43"/>
          </p15:clr>
        </p15:guide>
        <p15:guide id="6" pos="793">
          <p15:clr>
            <a:srgbClr val="F26B43"/>
          </p15:clr>
        </p15:guide>
        <p15:guide id="7" pos="2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.mendeley.com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://www.elsevier.com/databaselinking" TargetMode="External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ec.europa.eu/info/research-and-innovation/strategy/goals-research-and-innovation-policy/open-science/open-science-monitor_en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7.jpe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366364" y="1571510"/>
            <a:ext cx="5086333" cy="1186319"/>
          </a:xfrm>
        </p:spPr>
        <p:txBody>
          <a:bodyPr/>
          <a:lstStyle/>
          <a:p>
            <a:r>
              <a:rPr lang="en-GB" sz="4000" dirty="0"/>
              <a:t>Open Access and Open Science: making it happen </a:t>
            </a:r>
            <a:endParaRPr lang="de-DE" sz="40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66364" y="4191094"/>
            <a:ext cx="5112709" cy="448866"/>
          </a:xfrm>
        </p:spPr>
        <p:txBody>
          <a:bodyPr/>
          <a:lstStyle/>
          <a:p>
            <a:r>
              <a:rPr lang="pl-PL" sz="1600" dirty="0"/>
              <a:t>Katarzyna Gaca-Zając, </a:t>
            </a:r>
            <a:r>
              <a:rPr lang="pl-PL" sz="1600" dirty="0" err="1"/>
              <a:t>PhD</a:t>
            </a:r>
            <a:r>
              <a:rPr lang="pl-PL" sz="1600" dirty="0"/>
              <a:t> </a:t>
            </a:r>
            <a:r>
              <a:rPr lang="pl-PL" sz="1600" dirty="0" err="1"/>
              <a:t>Eng</a:t>
            </a:r>
            <a:endParaRPr lang="pl-PL" sz="1600" dirty="0"/>
          </a:p>
          <a:p>
            <a:r>
              <a:rPr lang="pl-PL" sz="1600" dirty="0" err="1"/>
              <a:t>Customer</a:t>
            </a:r>
            <a:r>
              <a:rPr lang="pl-PL" sz="1600" dirty="0"/>
              <a:t> Consultant for Central-</a:t>
            </a:r>
            <a:r>
              <a:rPr lang="pl-PL" sz="1600" dirty="0" err="1"/>
              <a:t>Eastern</a:t>
            </a:r>
            <a:r>
              <a:rPr lang="pl-PL" sz="1600" dirty="0"/>
              <a:t> Europe</a:t>
            </a:r>
            <a:br>
              <a:rPr lang="pl-PL" sz="1600" dirty="0"/>
            </a:br>
            <a:r>
              <a:rPr lang="pl-PL" sz="1600" dirty="0"/>
              <a:t>Elsevier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6120237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C1C0083-21D7-1440-932E-54B27879D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311" y="274792"/>
            <a:ext cx="5961289" cy="462759"/>
          </a:xfrm>
        </p:spPr>
        <p:txBody>
          <a:bodyPr/>
          <a:lstStyle/>
          <a:p>
            <a:r>
              <a:rPr lang="en-US" sz="2800" dirty="0"/>
              <a:t>Elsevier and open access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46431" y="4550066"/>
            <a:ext cx="4500000" cy="135000"/>
          </a:xfrm>
        </p:spPr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1A8E620-4A53-4E9C-9488-B7160AA0DCEA}"/>
              </a:ext>
            </a:extLst>
          </p:cNvPr>
          <p:cNvGrpSpPr/>
          <p:nvPr/>
        </p:nvGrpSpPr>
        <p:grpSpPr>
          <a:xfrm>
            <a:off x="230119" y="703385"/>
            <a:ext cx="8571220" cy="4305241"/>
            <a:chOff x="230119" y="703385"/>
            <a:chExt cx="8571220" cy="4305241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BEE1DB26-521E-4D08-95A1-D0B2031AEE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3928"/>
            <a:stretch/>
          </p:blipFill>
          <p:spPr>
            <a:xfrm>
              <a:off x="230119" y="893298"/>
              <a:ext cx="8571220" cy="4115328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3FB58F6-4F1D-4701-8D01-20C37259E36E}"/>
                </a:ext>
              </a:extLst>
            </p:cNvPr>
            <p:cNvSpPr/>
            <p:nvPr/>
          </p:nvSpPr>
          <p:spPr>
            <a:xfrm>
              <a:off x="6977575" y="703385"/>
              <a:ext cx="1336431" cy="977704"/>
            </a:xfrm>
            <a:prstGeom prst="rect">
              <a:avLst/>
            </a:prstGeom>
            <a:solidFill>
              <a:schemeClr val="bg1"/>
            </a:solidFill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highlight>
                  <a:srgbClr val="FFFF00"/>
                </a:highligh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10843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C1C0083-21D7-1440-932E-54B27879D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311" y="274792"/>
            <a:ext cx="5961289" cy="462759"/>
          </a:xfrm>
        </p:spPr>
        <p:txBody>
          <a:bodyPr/>
          <a:lstStyle/>
          <a:p>
            <a:r>
              <a:rPr lang="en-US" sz="2800" dirty="0"/>
              <a:t>Elsevier and open access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46431" y="4550066"/>
            <a:ext cx="4500000" cy="135000"/>
          </a:xfrm>
        </p:spPr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03EC549-CC56-4124-B669-7D11DA24AA8E}"/>
              </a:ext>
            </a:extLst>
          </p:cNvPr>
          <p:cNvGrpSpPr/>
          <p:nvPr/>
        </p:nvGrpSpPr>
        <p:grpSpPr>
          <a:xfrm>
            <a:off x="448554" y="800856"/>
            <a:ext cx="8498498" cy="4223642"/>
            <a:chOff x="448554" y="800856"/>
            <a:chExt cx="8498498" cy="422364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638E52-C7BD-4D8D-A632-841CAAF92BCE}"/>
                </a:ext>
              </a:extLst>
            </p:cNvPr>
            <p:cNvSpPr/>
            <p:nvPr/>
          </p:nvSpPr>
          <p:spPr>
            <a:xfrm>
              <a:off x="3439551" y="4093698"/>
              <a:ext cx="5507501" cy="930800"/>
            </a:xfrm>
            <a:prstGeom prst="rect">
              <a:avLst/>
            </a:prstGeom>
            <a:solidFill>
              <a:schemeClr val="bg1"/>
            </a:solidFill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1F0D53C-6219-4F33-9433-353200BF7D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53082"/>
            <a:stretch/>
          </p:blipFill>
          <p:spPr>
            <a:xfrm>
              <a:off x="448554" y="800856"/>
              <a:ext cx="3568609" cy="4223642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6B92286-9B3A-4B9B-8BB4-B35B0ED6F1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0185"/>
            <a:stretch/>
          </p:blipFill>
          <p:spPr>
            <a:xfrm>
              <a:off x="4572000" y="800856"/>
              <a:ext cx="3788950" cy="42236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21812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355531" y="1212655"/>
            <a:ext cx="4155000" cy="3180206"/>
          </a:xfrm>
          <a:prstGeom prst="rect">
            <a:avLst/>
          </a:prstGeom>
          <a:solidFill>
            <a:schemeClr val="bg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Kozuka Gothic Pr6N L" panose="020B0200000000000000" pitchFamily="34" charset="-128"/>
              <a:ea typeface="Kozuka Gothic Pr6N L" panose="020B0200000000000000" pitchFamily="34" charset="-128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641990" y="1201310"/>
            <a:ext cx="4155000" cy="3180206"/>
          </a:xfrm>
          <a:prstGeom prst="rect">
            <a:avLst/>
          </a:prstGeom>
          <a:solidFill>
            <a:schemeClr val="bg2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Kozuka Gothic Pr6N L" panose="020B0200000000000000" pitchFamily="34" charset="-128"/>
              <a:ea typeface="Kozuka Gothic Pr6N L" panose="020B0200000000000000" pitchFamily="34" charset="-128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C1C0083-21D7-1440-932E-54B27879D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311" y="380204"/>
            <a:ext cx="5961289" cy="462759"/>
          </a:xfrm>
        </p:spPr>
        <p:txBody>
          <a:bodyPr/>
          <a:lstStyle/>
          <a:p>
            <a:r>
              <a:rPr lang="en-US" sz="2800" dirty="0"/>
              <a:t>Elsevier and open acces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31ADBAD-67B8-7D4C-BC68-155C24DCDC69}"/>
              </a:ext>
            </a:extLst>
          </p:cNvPr>
          <p:cNvSpPr txBox="1">
            <a:spLocks/>
          </p:cNvSpPr>
          <p:nvPr/>
        </p:nvSpPr>
        <p:spPr>
          <a:xfrm>
            <a:off x="373800" y="1175794"/>
            <a:ext cx="3802914" cy="2977105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26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3050" indent="-273050" algn="l" defTabSz="685800" rtl="0" eaLnBrk="1" latinLnBrk="0" hangingPunct="1">
              <a:lnSpc>
                <a:spcPts val="2600"/>
              </a:lnSpc>
              <a:spcBef>
                <a:spcPts val="0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26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26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26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</a:pPr>
            <a:endParaRPr lang="en-US" sz="1300" dirty="0"/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46431" y="4550066"/>
            <a:ext cx="4500000" cy="135000"/>
          </a:xfrm>
        </p:spPr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4294967295"/>
          </p:nvPr>
        </p:nvSpPr>
        <p:spPr>
          <a:xfrm>
            <a:off x="458188" y="1252975"/>
            <a:ext cx="5157787" cy="823912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dirty="0"/>
              <a:t>Gold open access</a:t>
            </a:r>
          </a:p>
        </p:txBody>
      </p:sp>
      <p:sp>
        <p:nvSpPr>
          <p:cNvPr id="12" name="Content Placeholder 3"/>
          <p:cNvSpPr txBox="1">
            <a:spLocks/>
          </p:cNvSpPr>
          <p:nvPr/>
        </p:nvSpPr>
        <p:spPr>
          <a:xfrm>
            <a:off x="424860" y="1588669"/>
            <a:ext cx="4016342" cy="2955890"/>
          </a:xfrm>
          <a:prstGeom prst="rect">
            <a:avLst/>
          </a:prstGeom>
        </p:spPr>
        <p:txBody>
          <a:bodyPr>
            <a:noAutofit/>
          </a:bodyPr>
          <a:lstStyle>
            <a:lvl1pPr marL="266700" indent="-26670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14300">
              <a:lnSpc>
                <a:spcPct val="170000"/>
              </a:lnSpc>
            </a:pPr>
            <a:r>
              <a:rPr lang="en-US" sz="1200" dirty="0">
                <a:solidFill>
                  <a:srgbClr val="53565A"/>
                </a:solidFill>
                <a:cs typeface="Nexus Sans Offc Pro" panose="020B0504030101020102" pitchFamily="34" charset="0"/>
              </a:rPr>
              <a:t>Published around </a:t>
            </a:r>
            <a:r>
              <a:rPr lang="en-US" sz="1200" dirty="0">
                <a:solidFill>
                  <a:schemeClr val="accent2"/>
                </a:solidFill>
                <a:cs typeface="Nexus Sans Offc Pro" panose="020B0504030101020102" pitchFamily="34" charset="0"/>
              </a:rPr>
              <a:t>250 </a:t>
            </a:r>
            <a:r>
              <a:rPr lang="en-US" sz="1200" dirty="0">
                <a:cs typeface="Nexus Sans Offc Pro" panose="020B0504030101020102" pitchFamily="34" charset="0"/>
              </a:rPr>
              <a:t>fully gold open access </a:t>
            </a:r>
            <a:r>
              <a:rPr lang="en-US" sz="1200" dirty="0">
                <a:solidFill>
                  <a:srgbClr val="53565A"/>
                </a:solidFill>
                <a:cs typeface="Nexus Sans Offc Pro" panose="020B0504030101020102" pitchFamily="34" charset="0"/>
              </a:rPr>
              <a:t>journals and over </a:t>
            </a:r>
            <a:r>
              <a:rPr lang="en-US" sz="1200" dirty="0">
                <a:solidFill>
                  <a:schemeClr val="accent2"/>
                </a:solidFill>
                <a:cs typeface="Nexus Sans Offc Pro" panose="020B0504030101020102" pitchFamily="34" charset="0"/>
              </a:rPr>
              <a:t>1,900 </a:t>
            </a:r>
            <a:r>
              <a:rPr lang="en-US" sz="1200" dirty="0">
                <a:cs typeface="Nexus Sans Offc Pro" panose="020B0504030101020102" pitchFamily="34" charset="0"/>
              </a:rPr>
              <a:t>hybrid journals </a:t>
            </a:r>
          </a:p>
          <a:p>
            <a:pPr marL="171450" indent="-114300">
              <a:lnSpc>
                <a:spcPct val="170000"/>
              </a:lnSpc>
            </a:pPr>
            <a:r>
              <a:rPr lang="en-US" sz="1200" dirty="0">
                <a:solidFill>
                  <a:srgbClr val="53565A"/>
                </a:solidFill>
                <a:cs typeface="Nexus Sans Offc Pro" panose="020B0504030101020102" pitchFamily="34" charset="0"/>
              </a:rPr>
              <a:t>Published over </a:t>
            </a:r>
            <a:r>
              <a:rPr lang="en-US" sz="1200" dirty="0">
                <a:solidFill>
                  <a:schemeClr val="accent2"/>
                </a:solidFill>
                <a:cs typeface="Nexus Sans Offc Pro" panose="020B0504030101020102" pitchFamily="34" charset="0"/>
              </a:rPr>
              <a:t>34,000 </a:t>
            </a:r>
            <a:r>
              <a:rPr lang="en-US" sz="1200" dirty="0">
                <a:cs typeface="Nexus Sans Offc Pro" panose="020B0504030101020102" pitchFamily="34" charset="0"/>
              </a:rPr>
              <a:t>gold</a:t>
            </a:r>
            <a:r>
              <a:rPr lang="en-US" sz="1200" dirty="0">
                <a:solidFill>
                  <a:schemeClr val="accent2"/>
                </a:solidFill>
                <a:cs typeface="Nexus Sans Offc Pro" panose="020B0504030101020102" pitchFamily="34" charset="0"/>
              </a:rPr>
              <a:t> </a:t>
            </a:r>
            <a:r>
              <a:rPr lang="en-US" sz="1200" dirty="0">
                <a:cs typeface="Nexus Sans Offc Pro" panose="020B0504030101020102" pitchFamily="34" charset="0"/>
              </a:rPr>
              <a:t>open access </a:t>
            </a:r>
            <a:r>
              <a:rPr lang="en-US" sz="1200" dirty="0">
                <a:solidFill>
                  <a:srgbClr val="53565A"/>
                </a:solidFill>
                <a:cs typeface="Nexus Sans Offc Pro" panose="020B0504030101020102" pitchFamily="34" charset="0"/>
              </a:rPr>
              <a:t>articles in 2018, a 26% increase on 2017</a:t>
            </a:r>
          </a:p>
          <a:p>
            <a:pPr marL="171450" indent="-114300">
              <a:lnSpc>
                <a:spcPct val="170000"/>
              </a:lnSpc>
            </a:pPr>
            <a:r>
              <a:rPr lang="en-US" sz="1200" dirty="0">
                <a:solidFill>
                  <a:srgbClr val="53565A"/>
                </a:solidFill>
                <a:cs typeface="Nexus Sans Offc Pro" panose="020B0504030101020102" pitchFamily="34" charset="0"/>
              </a:rPr>
              <a:t>Choice of either a commercial (CC BY) or non-commercial (CC-BY-NC-ND) user license. </a:t>
            </a:r>
          </a:p>
          <a:p>
            <a:pPr marL="171450" indent="-114300">
              <a:lnSpc>
                <a:spcPct val="170000"/>
              </a:lnSpc>
            </a:pPr>
            <a:r>
              <a:rPr lang="en-US" sz="1200" dirty="0">
                <a:solidFill>
                  <a:srgbClr val="53565A"/>
                </a:solidFill>
                <a:cs typeface="Nexus Sans Offc Pro" panose="020B0504030101020102" pitchFamily="34" charset="0"/>
              </a:rPr>
              <a:t>Article publishing charges (APCs) range from ~$150 to ~$6000 (US Dollars) excluding tax</a:t>
            </a:r>
            <a:endParaRPr lang="en-US" sz="1200" dirty="0">
              <a:cs typeface="Nexus Sans Offc Pro" panose="020B0504030101020102" pitchFamily="34" charset="0"/>
            </a:endParaRPr>
          </a:p>
          <a:p>
            <a:endParaRPr lang="en-US" sz="105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4710120" y="1252975"/>
            <a:ext cx="5183188" cy="823912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dirty="0"/>
              <a:t>Green open access</a:t>
            </a:r>
          </a:p>
        </p:txBody>
      </p:sp>
      <p:sp>
        <p:nvSpPr>
          <p:cNvPr id="18" name="Content Placeholder 5"/>
          <p:cNvSpPr txBox="1">
            <a:spLocks/>
          </p:cNvSpPr>
          <p:nvPr/>
        </p:nvSpPr>
        <p:spPr>
          <a:xfrm>
            <a:off x="4761585" y="1688462"/>
            <a:ext cx="4035405" cy="2803966"/>
          </a:xfrm>
          <a:prstGeom prst="rect">
            <a:avLst/>
          </a:prstGeom>
        </p:spPr>
        <p:txBody>
          <a:bodyPr>
            <a:normAutofit/>
          </a:bodyPr>
          <a:lstStyle>
            <a:lvl1pPr marL="266700" indent="-26670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</a:pPr>
            <a:r>
              <a:rPr lang="en-GB" sz="1200" kern="0" dirty="0">
                <a:solidFill>
                  <a:srgbClr val="53565A"/>
                </a:solidFill>
                <a:cs typeface="Nexus Sans Offc Pro" panose="020B0504030101020102" pitchFamily="34" charset="0"/>
              </a:rPr>
              <a:t>Largest publisher enabler of green open access</a:t>
            </a:r>
            <a:endParaRPr lang="en-US" sz="1200" kern="0" dirty="0">
              <a:solidFill>
                <a:srgbClr val="53565A"/>
              </a:solidFill>
              <a:cs typeface="Nexus Sans Offc Pro" panose="020B0504030101020102" pitchFamily="34" charset="0"/>
            </a:endParaRPr>
          </a:p>
          <a:p>
            <a:pPr marL="171450" indent="-171450">
              <a:lnSpc>
                <a:spcPct val="150000"/>
              </a:lnSpc>
            </a:pPr>
            <a:r>
              <a:rPr lang="en-US" sz="1200" kern="0" dirty="0">
                <a:cs typeface="Nexus Sans Offc Pro" panose="020B0504030101020102" pitchFamily="34" charset="0"/>
              </a:rPr>
              <a:t>All</a:t>
            </a:r>
            <a:r>
              <a:rPr lang="en-US" sz="1200" kern="0" dirty="0">
                <a:solidFill>
                  <a:srgbClr val="53565A"/>
                </a:solidFill>
                <a:cs typeface="Nexus Sans Offc Pro" panose="020B0504030101020102" pitchFamily="34" charset="0"/>
              </a:rPr>
              <a:t> </a:t>
            </a:r>
            <a:r>
              <a:rPr lang="en-US" sz="1200" kern="0" dirty="0">
                <a:solidFill>
                  <a:schemeClr val="accent2"/>
                </a:solidFill>
                <a:cs typeface="Nexus Sans Offc Pro" panose="020B0504030101020102" pitchFamily="34" charset="0"/>
              </a:rPr>
              <a:t>2500+ </a:t>
            </a:r>
            <a:r>
              <a:rPr lang="en-US" sz="1200" kern="0" dirty="0">
                <a:cs typeface="Nexus Sans Offc Pro" panose="020B0504030101020102" pitchFamily="34" charset="0"/>
              </a:rPr>
              <a:t>journals</a:t>
            </a:r>
            <a:r>
              <a:rPr lang="en-US" sz="1200" kern="0" dirty="0">
                <a:solidFill>
                  <a:schemeClr val="accent2"/>
                </a:solidFill>
                <a:cs typeface="Nexus Sans Offc Pro" panose="020B0504030101020102" pitchFamily="34" charset="0"/>
              </a:rPr>
              <a:t> </a:t>
            </a:r>
            <a:r>
              <a:rPr lang="en-US" sz="1200" kern="0" dirty="0">
                <a:solidFill>
                  <a:srgbClr val="53565A"/>
                </a:solidFill>
                <a:cs typeface="Nexus Sans Offc Pro" panose="020B0504030101020102" pitchFamily="34" charset="0"/>
              </a:rPr>
              <a:t>provide a green open access option</a:t>
            </a:r>
          </a:p>
          <a:p>
            <a:pPr marL="171450" indent="-171450">
              <a:lnSpc>
                <a:spcPct val="150000"/>
              </a:lnSpc>
            </a:pPr>
            <a:r>
              <a:rPr lang="en-US" sz="1200" kern="0" dirty="0">
                <a:solidFill>
                  <a:srgbClr val="53565A"/>
                </a:solidFill>
                <a:cs typeface="Nexus Sans Offc Pro" panose="020B0504030101020102" pitchFamily="34" charset="0"/>
              </a:rPr>
              <a:t>Participate in </a:t>
            </a:r>
            <a:r>
              <a:rPr lang="en-US" sz="1200" kern="0" dirty="0">
                <a:cs typeface="Nexus Sans Offc Pro" panose="020B0504030101020102" pitchFamily="34" charset="0"/>
              </a:rPr>
              <a:t>CHORUS</a:t>
            </a:r>
            <a:r>
              <a:rPr lang="en-US" sz="1200" kern="0" dirty="0">
                <a:solidFill>
                  <a:srgbClr val="53565A"/>
                </a:solidFill>
                <a:cs typeface="Nexus Sans Offc Pro" panose="020B0504030101020102" pitchFamily="34" charset="0"/>
              </a:rPr>
              <a:t> and support pilots with institutions and international funders</a:t>
            </a:r>
          </a:p>
          <a:p>
            <a:pPr marL="171450" indent="-171450">
              <a:lnSpc>
                <a:spcPct val="150000"/>
              </a:lnSpc>
            </a:pPr>
            <a:r>
              <a:rPr lang="en-US" sz="1200" kern="0" dirty="0">
                <a:cs typeface="Nexus Sans Offc Pro" panose="020B0504030101020102" pitchFamily="34" charset="0"/>
              </a:rPr>
              <a:t>Free API program to fuel repositories </a:t>
            </a:r>
            <a:endParaRPr lang="en-GB" sz="1200" kern="0" dirty="0">
              <a:cs typeface="Nexus Sans Offc Pro" panose="020B0504030101020102" pitchFamily="34" charset="0"/>
            </a:endParaRPr>
          </a:p>
          <a:p>
            <a:pPr marL="171450" indent="-171450">
              <a:lnSpc>
                <a:spcPct val="150000"/>
              </a:lnSpc>
            </a:pPr>
            <a:r>
              <a:rPr lang="en-GB" sz="1200" kern="0" dirty="0">
                <a:solidFill>
                  <a:srgbClr val="53565A"/>
                </a:solidFill>
                <a:cs typeface="Nexus Sans Offc Pro" panose="020B0504030101020102" pitchFamily="34" charset="0"/>
              </a:rPr>
              <a:t>Share link service provides </a:t>
            </a:r>
            <a:r>
              <a:rPr lang="en-GB" sz="1200" kern="0" dirty="0">
                <a:solidFill>
                  <a:schemeClr val="accent2"/>
                </a:solidFill>
                <a:cs typeface="Nexus Sans Offc Pro" panose="020B0504030101020102" pitchFamily="34" charset="0"/>
              </a:rPr>
              <a:t>50 </a:t>
            </a:r>
            <a:r>
              <a:rPr lang="en-GB" sz="1200" kern="0" dirty="0">
                <a:cs typeface="Nexus Sans Offc Pro" panose="020B0504030101020102" pitchFamily="34" charset="0"/>
              </a:rPr>
              <a:t>days free access </a:t>
            </a:r>
            <a:r>
              <a:rPr lang="en-GB" sz="1200" kern="0" dirty="0">
                <a:solidFill>
                  <a:srgbClr val="53565A"/>
                </a:solidFill>
                <a:cs typeface="Nexus Sans Offc Pro" panose="020B0504030101020102" pitchFamily="34" charset="0"/>
              </a:rPr>
              <a:t>to recently published research </a:t>
            </a:r>
          </a:p>
          <a:p>
            <a:pPr marL="171450" indent="-171450">
              <a:lnSpc>
                <a:spcPct val="150000"/>
              </a:lnSpc>
            </a:pPr>
            <a:r>
              <a:rPr lang="en-GB" sz="1200" kern="0" dirty="0">
                <a:cs typeface="Nexus Sans Offc Pro" panose="020B0504030101020102" pitchFamily="34" charset="0"/>
              </a:rPr>
              <a:t>Open archives in </a:t>
            </a:r>
            <a:r>
              <a:rPr lang="en-GB" sz="1200" kern="0" dirty="0">
                <a:solidFill>
                  <a:schemeClr val="accent2"/>
                </a:solidFill>
                <a:cs typeface="Nexus Sans Offc Pro" panose="020B0504030101020102" pitchFamily="34" charset="0"/>
              </a:rPr>
              <a:t>130 </a:t>
            </a:r>
            <a:r>
              <a:rPr lang="en-GB" sz="1200" kern="0" dirty="0">
                <a:cs typeface="Nexus Sans Offc Pro" panose="020B0504030101020102" pitchFamily="34" charset="0"/>
              </a:rPr>
              <a:t>journals</a:t>
            </a:r>
            <a:r>
              <a:rPr lang="en-GB" sz="1200" kern="0" dirty="0">
                <a:solidFill>
                  <a:srgbClr val="53565A"/>
                </a:solidFill>
                <a:cs typeface="Nexus Sans Offc Pro" panose="020B0504030101020102" pitchFamily="34" charset="0"/>
              </a:rPr>
              <a:t>, including Cell Press titles after 12 months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583129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780" y="246081"/>
            <a:ext cx="7928508" cy="462759"/>
          </a:xfrm>
        </p:spPr>
        <p:txBody>
          <a:bodyPr/>
          <a:lstStyle/>
          <a:p>
            <a:r>
              <a:rPr lang="en-US" dirty="0"/>
              <a:t>Share Link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5779" y="881878"/>
            <a:ext cx="5289821" cy="3635375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b="0" dirty="0"/>
              <a:t>Anyone clicking on the Share Link within a </a:t>
            </a:r>
            <a:r>
              <a:rPr lang="en-US" sz="1400" b="0" dirty="0">
                <a:solidFill>
                  <a:srgbClr val="FF6C00"/>
                </a:solidFill>
              </a:rPr>
              <a:t>50</a:t>
            </a:r>
            <a:r>
              <a:rPr lang="en-US" sz="1400" b="0" dirty="0"/>
              <a:t>-day period will be taken directly to the article with no sign up or registration required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b="0" dirty="0"/>
              <a:t>Over </a:t>
            </a:r>
            <a:r>
              <a:rPr lang="en-US" sz="1400" b="0" dirty="0">
                <a:solidFill>
                  <a:srgbClr val="FF6C00"/>
                </a:solidFill>
              </a:rPr>
              <a:t>1.3 million </a:t>
            </a:r>
            <a:r>
              <a:rPr lang="en-US" sz="1400" b="0" dirty="0"/>
              <a:t>articles were shared</a:t>
            </a:r>
            <a:r>
              <a:rPr lang="pl-PL" sz="1400" b="0" dirty="0"/>
              <a:t>, </a:t>
            </a:r>
            <a:r>
              <a:rPr lang="en-US" sz="1400" b="0" dirty="0" err="1"/>
              <a:t>generat</a:t>
            </a:r>
            <a:r>
              <a:rPr lang="pl-PL" sz="1400" b="0" dirty="0" err="1"/>
              <a:t>ing</a:t>
            </a:r>
            <a:r>
              <a:rPr lang="en-US" sz="1400" b="0" dirty="0"/>
              <a:t> over </a:t>
            </a:r>
            <a:r>
              <a:rPr lang="en-US" sz="1400" b="0" dirty="0">
                <a:solidFill>
                  <a:srgbClr val="FF6C00"/>
                </a:solidFill>
              </a:rPr>
              <a:t>10 million </a:t>
            </a:r>
            <a:r>
              <a:rPr lang="en-US" sz="1400" b="0" dirty="0"/>
              <a:t>article views</a:t>
            </a:r>
            <a:r>
              <a:rPr lang="pl-PL" sz="1400" b="0" dirty="0"/>
              <a:t> via </a:t>
            </a:r>
            <a:r>
              <a:rPr lang="pl-PL" sz="1400" b="0" dirty="0" err="1"/>
              <a:t>Share</a:t>
            </a:r>
            <a:r>
              <a:rPr lang="pl-PL" sz="1400" b="0" dirty="0"/>
              <a:t> Links</a:t>
            </a:r>
            <a:endParaRPr lang="en-US" sz="1400" b="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FF6C00"/>
                </a:solidFill>
              </a:rPr>
              <a:t>68.7%</a:t>
            </a:r>
            <a:r>
              <a:rPr lang="en-US" sz="1400" b="0" dirty="0"/>
              <a:t> of links come from social media in 2018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b="0" dirty="0"/>
              <a:t>Since Share Links became available to both corresponding and co-authors in August 2017, the number of authors receiving Share Links has increased by </a:t>
            </a:r>
            <a:r>
              <a:rPr lang="en-US" sz="1400" b="0" dirty="0">
                <a:solidFill>
                  <a:srgbClr val="FF6C00"/>
                </a:solidFill>
              </a:rPr>
              <a:t>over 300%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5264" y="246081"/>
            <a:ext cx="2763919" cy="4104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943719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D9FB5C-5328-4B41-AD27-768F5239A5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6886BA-5E1F-4E29-83D3-83D7B10D2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800"/>
              <a:t>Title (change with Header &amp; footer button)</a:t>
            </a:r>
            <a:endParaRPr lang="de-DE" sz="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ED680D3-FFC8-4563-AB57-B05B81BB9E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143" y="290621"/>
            <a:ext cx="8485714" cy="4628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57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C1C0083-21D7-1440-932E-54B27879D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311" y="380204"/>
            <a:ext cx="6869827" cy="462759"/>
          </a:xfrm>
        </p:spPr>
        <p:txBody>
          <a:bodyPr/>
          <a:lstStyle/>
          <a:p>
            <a:r>
              <a:rPr lang="en-US" sz="2800" dirty="0"/>
              <a:t>Fueling IRs: free API program 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46431" y="4569185"/>
            <a:ext cx="4500000" cy="135000"/>
          </a:xfrm>
        </p:spPr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741459" y="1596933"/>
            <a:ext cx="1942353" cy="1787543"/>
          </a:xfr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Did you know? </a:t>
            </a:r>
          </a:p>
          <a:p>
            <a:pPr>
              <a:lnSpc>
                <a:spcPct val="150000"/>
              </a:lnSpc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Scopus customers can also integrate Scopus APIs to retrieve metadata and abstracts across all publishers. </a:t>
            </a:r>
          </a:p>
          <a:p>
            <a:pPr>
              <a:lnSpc>
                <a:spcPct val="150000"/>
              </a:lnSpc>
            </a:pP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63311" y="4170809"/>
            <a:ext cx="501428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b="1" u="sng" dirty="0">
                <a:solidFill>
                  <a:srgbClr val="0A0A0A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Please Note</a:t>
            </a:r>
            <a:r>
              <a:rPr lang="en-GB" sz="800" b="1" dirty="0">
                <a:solidFill>
                  <a:srgbClr val="0A0A0A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: </a:t>
            </a:r>
            <a:r>
              <a:rPr lang="en-GB" sz="800" dirty="0">
                <a:solidFill>
                  <a:srgbClr val="0A0A0A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**Minimum part of the program. </a:t>
            </a:r>
          </a:p>
        </p:txBody>
      </p:sp>
      <p:sp>
        <p:nvSpPr>
          <p:cNvPr id="9" name="Rectangle 8"/>
          <p:cNvSpPr/>
          <p:nvPr/>
        </p:nvSpPr>
        <p:spPr>
          <a:xfrm>
            <a:off x="3459234" y="1661323"/>
            <a:ext cx="1333580" cy="2422997"/>
          </a:xfrm>
          <a:prstGeom prst="rect">
            <a:avLst/>
          </a:prstGeom>
          <a:solidFill>
            <a:srgbClr val="ACD2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Article Retrieval API embeds the final article in your repository so subscribers don’t leave your site to access the artic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467200" y="1202984"/>
            <a:ext cx="1333580" cy="393948"/>
          </a:xfrm>
          <a:prstGeom prst="rect">
            <a:avLst/>
          </a:prstGeom>
          <a:solidFill>
            <a:srgbClr val="3679E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latin typeface="Arial" panose="020B0604020202020204" pitchFamily="34" charset="0"/>
                <a:ea typeface="Kozuka Gothic Pr6N L" panose="020B0200000000000000" pitchFamily="34" charset="-128"/>
                <a:cs typeface="Arial" panose="020B0604020202020204" pitchFamily="34" charset="0"/>
              </a:rPr>
              <a:t>Keep users on your IR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65206" y="1660119"/>
            <a:ext cx="1362068" cy="2415292"/>
          </a:xfrm>
          <a:prstGeom prst="rect">
            <a:avLst/>
          </a:prstGeom>
          <a:solidFill>
            <a:srgbClr val="ACD2FF">
              <a:alpha val="1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Search API can extract the metadata and abstracts of your affiliated authors to help populate your repository, enhance discoverability and create links or embed final versio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943650" y="1672183"/>
            <a:ext cx="1398501" cy="24058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Entitlements API** can ensure subscribed users see the final version and visitors can see the accepted manuscript hosted on your repository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37680" y="1202983"/>
            <a:ext cx="1380921" cy="393949"/>
          </a:xfrm>
          <a:prstGeom prst="rect">
            <a:avLst/>
          </a:prstGeom>
          <a:solidFill>
            <a:srgbClr val="3679E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latin typeface="Arial" panose="020B0604020202020204" pitchFamily="34" charset="0"/>
                <a:ea typeface="Kozuka Gothic Pr6N L" panose="020B0200000000000000" pitchFamily="34" charset="-128"/>
                <a:cs typeface="Arial" panose="020B0604020202020204" pitchFamily="34" charset="0"/>
              </a:rPr>
              <a:t>Get metadata &amp; abstract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943650" y="1202143"/>
            <a:ext cx="1398501" cy="39394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latin typeface="Arial" panose="020B0604020202020204" pitchFamily="34" charset="0"/>
                <a:ea typeface="Kozuka Gothic Pr6N L" panose="020B0200000000000000" pitchFamily="34" charset="-128"/>
                <a:cs typeface="Arial" panose="020B0604020202020204" pitchFamily="34" charset="0"/>
              </a:rPr>
              <a:t>Show the final version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925829" y="1678338"/>
            <a:ext cx="1428318" cy="24032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Hosting permissions API can retrieve embargo end dates so you can make manuscripts automatically available to the public after embargo 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925829" y="1202983"/>
            <a:ext cx="1428318" cy="38611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latin typeface="Arial" panose="020B0604020202020204" pitchFamily="34" charset="0"/>
                <a:ea typeface="Kozuka Gothic Pr6N L" panose="020B0200000000000000" pitchFamily="34" charset="-128"/>
                <a:cs typeface="Arial" panose="020B0604020202020204" pitchFamily="34" charset="0"/>
              </a:rPr>
              <a:t>Make manuscripts public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8689" y="1202984"/>
            <a:ext cx="1135123" cy="323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1"/>
          <p:cNvSpPr/>
          <p:nvPr/>
        </p:nvSpPr>
        <p:spPr>
          <a:xfrm>
            <a:off x="3951210" y="4188380"/>
            <a:ext cx="242196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dirty="0"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//dev.elsevier.com/tecdoc_sd_ir_integration.html</a:t>
            </a:r>
            <a:endParaRPr lang="en-US" sz="800" dirty="0">
              <a:latin typeface="+mj-lt"/>
              <a:ea typeface="Kozuka Gothic Pr6N L" panose="020B0200000000000000" pitchFamily="34" charset="-128"/>
              <a:cs typeface="NexusSansPro" panose="020B050403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35224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ore</a:t>
            </a:r>
            <a:br>
              <a:rPr lang="en-US" dirty="0"/>
            </a:br>
            <a:r>
              <a:rPr lang="en-US" dirty="0"/>
              <a:t>collaborativ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212" y="239096"/>
            <a:ext cx="4834423" cy="483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8817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89F6C0-316E-4FBA-8C9E-82E797F690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3C47A-2488-416B-89DF-02DC664DA84B}" type="datetime1">
              <a:rPr lang="nl-NL" sz="800" smtClean="0"/>
              <a:pPr/>
              <a:t>29-10-2019</a:t>
            </a:fld>
            <a:endParaRPr lang="de-DE" sz="8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87D061-86E0-4FA9-A5BA-9CD50A3D8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800"/>
              <a:t>Title (change with Header &amp; footer button)</a:t>
            </a:r>
            <a:endParaRPr lang="de-DE" sz="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3AA9EA-0DDC-4E4B-B769-95852FC442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5690" y="0"/>
            <a:ext cx="729261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3339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46431" y="4550066"/>
            <a:ext cx="4500000" cy="135000"/>
          </a:xfrm>
        </p:spPr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5597431" y="1158155"/>
            <a:ext cx="0" cy="311490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/>
          <p:cNvSpPr txBox="1">
            <a:spLocks/>
          </p:cNvSpPr>
          <p:nvPr/>
        </p:nvSpPr>
        <p:spPr>
          <a:xfrm>
            <a:off x="363311" y="1158155"/>
            <a:ext cx="4947243" cy="627186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360363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</a:pPr>
            <a:r>
              <a:rPr lang="en-US" sz="1400" b="0" dirty="0"/>
              <a:t>Submitting authors can store research data in </a:t>
            </a:r>
            <a:r>
              <a:rPr lang="en-US" sz="1400" b="0" dirty="0">
                <a:hlinkClick r:id="rId3"/>
              </a:rPr>
              <a:t>Mendeley Data</a:t>
            </a:r>
            <a:r>
              <a:rPr lang="en-US" sz="1400" b="0" dirty="0"/>
              <a:t> repository and link this to their article on ScienceDirect.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Open access, </a:t>
            </a:r>
            <a:r>
              <a:rPr lang="en-US" sz="1200" b="0" dirty="0">
                <a:solidFill>
                  <a:srgbClr val="FF6C00"/>
                </a:solidFill>
              </a:rPr>
              <a:t>free-to-use</a:t>
            </a:r>
            <a:r>
              <a:rPr lang="en-US" sz="1200" b="0" dirty="0"/>
              <a:t> repository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Indexes over</a:t>
            </a:r>
            <a:r>
              <a:rPr lang="en-US" sz="1200" b="0" dirty="0">
                <a:solidFill>
                  <a:srgbClr val="FF6C00"/>
                </a:solidFill>
              </a:rPr>
              <a:t> 10 million </a:t>
            </a:r>
            <a:r>
              <a:rPr lang="en-US" sz="1200" b="0" dirty="0"/>
              <a:t>datasets</a:t>
            </a:r>
            <a:r>
              <a:rPr lang="en-US" sz="1200" b="0" dirty="0">
                <a:solidFill>
                  <a:srgbClr val="FF6C00"/>
                </a:solidFill>
              </a:rPr>
              <a:t> </a:t>
            </a:r>
            <a:r>
              <a:rPr lang="en-US" sz="1200" b="0" dirty="0"/>
              <a:t>from domain-specific and cross-domain repositories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Hosts </a:t>
            </a:r>
            <a:r>
              <a:rPr lang="en-US" sz="1200" b="0" dirty="0">
                <a:solidFill>
                  <a:srgbClr val="FF6C00"/>
                </a:solidFill>
              </a:rPr>
              <a:t>all formats </a:t>
            </a:r>
            <a:r>
              <a:rPr lang="en-US" sz="1200" b="0" dirty="0"/>
              <a:t>(raw, processed data, tables, code and software)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>
                <a:solidFill>
                  <a:srgbClr val="FF6C00"/>
                </a:solidFill>
              </a:rPr>
              <a:t>10GB </a:t>
            </a:r>
            <a:r>
              <a:rPr lang="en-US" sz="1200" b="0" dirty="0"/>
              <a:t>free storage</a:t>
            </a:r>
            <a:r>
              <a:rPr lang="en-US" sz="1200" b="0" dirty="0">
                <a:solidFill>
                  <a:srgbClr val="FF6C00"/>
                </a:solidFill>
              </a:rPr>
              <a:t> </a:t>
            </a:r>
            <a:r>
              <a:rPr lang="en-US" sz="1200" b="0" dirty="0"/>
              <a:t>and CC0 license option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Assigns data </a:t>
            </a:r>
            <a:r>
              <a:rPr lang="en-US" sz="1200" b="0" dirty="0">
                <a:solidFill>
                  <a:srgbClr val="FF6C00"/>
                </a:solidFill>
              </a:rPr>
              <a:t>DOI</a:t>
            </a:r>
            <a:r>
              <a:rPr lang="en-US" sz="1200" b="0" dirty="0"/>
              <a:t> to make it independently citable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Partnership with DANS for long term </a:t>
            </a:r>
            <a:r>
              <a:rPr lang="en-US" sz="1200" b="0" dirty="0">
                <a:solidFill>
                  <a:srgbClr val="FF6C00"/>
                </a:solidFill>
              </a:rPr>
              <a:t>storage </a:t>
            </a:r>
            <a:r>
              <a:rPr lang="en-US" sz="1200" b="0" dirty="0"/>
              <a:t>and</a:t>
            </a:r>
            <a:r>
              <a:rPr lang="en-US" sz="1200" b="0" dirty="0">
                <a:solidFill>
                  <a:srgbClr val="FF6C00"/>
                </a:solidFill>
              </a:rPr>
              <a:t> preservation </a:t>
            </a:r>
            <a:endParaRPr lang="en-US" sz="1100" b="0" dirty="0">
              <a:solidFill>
                <a:srgbClr val="FF6C00"/>
              </a:solidFill>
            </a:endParaRPr>
          </a:p>
        </p:txBody>
      </p:sp>
      <p:sp>
        <p:nvSpPr>
          <p:cNvPr id="17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63311" y="380204"/>
            <a:ext cx="7798553" cy="462759"/>
          </a:xfrm>
        </p:spPr>
        <p:txBody>
          <a:bodyPr/>
          <a:lstStyle/>
          <a:p>
            <a:r>
              <a:rPr lang="en-US" sz="2800" dirty="0"/>
              <a:t>Storing research data</a:t>
            </a:r>
            <a:r>
              <a:rPr lang="pl-PL" sz="2800" dirty="0"/>
              <a:t> &amp; </a:t>
            </a:r>
            <a:r>
              <a:rPr lang="pl-PL" sz="2800" dirty="0" err="1"/>
              <a:t>facilitating</a:t>
            </a:r>
            <a:r>
              <a:rPr lang="pl-PL" sz="2800" dirty="0"/>
              <a:t> </a:t>
            </a:r>
            <a:r>
              <a:rPr lang="pl-PL" sz="2800" dirty="0" err="1"/>
              <a:t>cooperation</a:t>
            </a:r>
            <a:r>
              <a:rPr lang="en-US" sz="2800" dirty="0"/>
              <a:t> </a:t>
            </a:r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715"/>
          <a:stretch/>
        </p:blipFill>
        <p:spPr bwMode="auto">
          <a:xfrm>
            <a:off x="5885850" y="1004741"/>
            <a:ext cx="2796618" cy="642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87" b="18487"/>
          <a:stretch>
            <a:fillRect/>
          </a:stretch>
        </p:blipFill>
        <p:spPr bwMode="auto">
          <a:xfrm>
            <a:off x="5938972" y="1785341"/>
            <a:ext cx="2841717" cy="184145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48CE8CB-3529-4F16-BC80-B34A1B9D4285}"/>
              </a:ext>
            </a:extLst>
          </p:cNvPr>
          <p:cNvSpPr txBox="1"/>
          <p:nvPr/>
        </p:nvSpPr>
        <p:spPr>
          <a:xfrm>
            <a:off x="6124482" y="3763094"/>
            <a:ext cx="23193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3679E0"/>
                </a:solidFill>
              </a:rPr>
              <a:t>https://data.mendeley.com/</a:t>
            </a:r>
          </a:p>
        </p:txBody>
      </p:sp>
    </p:spTree>
    <p:extLst>
      <p:ext uri="{BB962C8B-B14F-4D97-AF65-F5344CB8AC3E}">
        <p14:creationId xmlns:p14="http://schemas.microsoft.com/office/powerpoint/2010/main" val="8082212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46431" y="4550066"/>
            <a:ext cx="4500000" cy="135000"/>
          </a:xfrm>
        </p:spPr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5187821" y="1106608"/>
            <a:ext cx="3729" cy="3179812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/>
          <p:cNvSpPr txBox="1">
            <a:spLocks/>
          </p:cNvSpPr>
          <p:nvPr/>
        </p:nvSpPr>
        <p:spPr>
          <a:xfrm>
            <a:off x="363310" y="1057275"/>
            <a:ext cx="4651893" cy="2429465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360363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b="0" dirty="0"/>
              <a:t>Offer researchers an easy channel to publish their research output, receive credit, and make research objects discoverable </a:t>
            </a:r>
          </a:p>
          <a:p>
            <a:pPr marL="228600" indent="-2286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b="0" dirty="0"/>
              <a:t>Dedicated sections in regular journals</a:t>
            </a:r>
          </a:p>
          <a:p>
            <a:pPr marL="228600" indent="-2286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b="0" dirty="0"/>
              <a:t>Specialized, fast and transparent peer-review  process</a:t>
            </a:r>
          </a:p>
          <a:p>
            <a:pPr marL="228600" indent="-2286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b="0" dirty="0"/>
              <a:t>Co-submission service via regular journals for data articles</a:t>
            </a:r>
          </a:p>
          <a:p>
            <a:pPr marL="228600" indent="-2286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b="0" dirty="0"/>
              <a:t>Primarily Open Access, APCs of ~500 USD</a:t>
            </a:r>
          </a:p>
        </p:txBody>
      </p:sp>
      <p:sp>
        <p:nvSpPr>
          <p:cNvPr id="17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63311" y="380204"/>
            <a:ext cx="6869827" cy="462759"/>
          </a:xfrm>
        </p:spPr>
        <p:txBody>
          <a:bodyPr/>
          <a:lstStyle/>
          <a:p>
            <a:r>
              <a:rPr lang="en-US" sz="2800" dirty="0"/>
              <a:t>Publishing data articles</a:t>
            </a:r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2200" y="1157927"/>
            <a:ext cx="3498781" cy="307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589620" y="3548397"/>
            <a:ext cx="3999722" cy="58477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</a:rPr>
              <a:t>Because no matter what field of research you are in, 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rgbClr val="FF6C00"/>
                </a:solidFill>
                <a:effectLst/>
                <a:uLnTx/>
                <a:uFillTx/>
                <a:latin typeface="Arial"/>
              </a:rPr>
              <a:t>data</a:t>
            </a: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</a:rPr>
              <a:t>, </a:t>
            </a: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rgbClr val="FF6C00"/>
                </a:solidFill>
                <a:effectLst/>
                <a:uLnTx/>
                <a:uFillTx/>
                <a:latin typeface="Arial"/>
              </a:rPr>
              <a:t>methods</a:t>
            </a: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</a:rPr>
              <a:t> and </a:t>
            </a: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rgbClr val="FF6C00"/>
                </a:solidFill>
                <a:effectLst/>
                <a:uLnTx/>
                <a:uFillTx/>
                <a:latin typeface="Arial"/>
              </a:rPr>
              <a:t>software</a:t>
            </a: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</a:rPr>
              <a:t> always matter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69421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58D4A4-FA87-4C3C-A0BF-7DCDF6718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pic>
        <p:nvPicPr>
          <p:cNvPr id="2050" name="Picture 2" descr="Znalezione obrazy dla zapytania lithuania autumn forest">
            <a:extLst>
              <a:ext uri="{FF2B5EF4-FFF2-40B4-BE49-F238E27FC236}">
                <a16:creationId xmlns:a16="http://schemas.microsoft.com/office/drawing/2014/main" id="{E0C9E779-75E2-4198-B9CB-73200EFD07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9235" y="0"/>
            <a:ext cx="9202469" cy="5385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F04D1B9-D9D9-4D06-8D8E-B6F5C0954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8613" y="2108991"/>
            <a:ext cx="6584261" cy="462759"/>
          </a:xfrm>
        </p:spPr>
        <p:txBody>
          <a:bodyPr/>
          <a:lstStyle/>
          <a:p>
            <a:pPr algn="ctr"/>
            <a:r>
              <a:rPr lang="pl-PL" sz="3600" dirty="0">
                <a:solidFill>
                  <a:schemeClr val="bg1">
                    <a:lumMod val="85000"/>
                  </a:schemeClr>
                </a:solidFill>
              </a:rPr>
              <a:t>We </a:t>
            </a:r>
            <a:r>
              <a:rPr lang="pl-PL" sz="3600" dirty="0" err="1">
                <a:solidFill>
                  <a:schemeClr val="bg1">
                    <a:lumMod val="85000"/>
                  </a:schemeClr>
                </a:solidFill>
              </a:rPr>
              <a:t>don’t</a:t>
            </a:r>
            <a:r>
              <a:rPr lang="pl-PL" sz="36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pl-PL" sz="3600" dirty="0" err="1">
                <a:solidFill>
                  <a:schemeClr val="bg1">
                    <a:lumMod val="85000"/>
                  </a:schemeClr>
                </a:solidFill>
              </a:rPr>
              <a:t>have</a:t>
            </a:r>
            <a:r>
              <a:rPr lang="pl-PL" sz="36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pl-PL" sz="3600" dirty="0" err="1">
                <a:solidFill>
                  <a:schemeClr val="bg1">
                    <a:lumMod val="85000"/>
                  </a:schemeClr>
                </a:solidFill>
              </a:rPr>
              <a:t>all</a:t>
            </a:r>
            <a:r>
              <a:rPr lang="pl-PL" sz="3600" dirty="0">
                <a:solidFill>
                  <a:schemeClr val="bg1">
                    <a:lumMod val="85000"/>
                  </a:schemeClr>
                </a:solidFill>
              </a:rPr>
              <a:t> the </a:t>
            </a:r>
            <a:r>
              <a:rPr lang="pl-PL" sz="3600" dirty="0" err="1">
                <a:solidFill>
                  <a:schemeClr val="bg1">
                    <a:lumMod val="85000"/>
                  </a:schemeClr>
                </a:solidFill>
              </a:rPr>
              <a:t>answers</a:t>
            </a:r>
            <a:r>
              <a:rPr lang="pl-PL" sz="3600" dirty="0">
                <a:solidFill>
                  <a:schemeClr val="bg1">
                    <a:lumMod val="85000"/>
                  </a:schemeClr>
                </a:solidFill>
              </a:rPr>
              <a:t>, nor a </a:t>
            </a:r>
            <a:r>
              <a:rPr lang="pl-PL" sz="3600" dirty="0" err="1">
                <a:solidFill>
                  <a:schemeClr val="bg1">
                    <a:lumMod val="85000"/>
                  </a:schemeClr>
                </a:solidFill>
              </a:rPr>
              <a:t>fixed</a:t>
            </a:r>
            <a:r>
              <a:rPr lang="pl-PL" sz="3600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pl-PL" sz="3600" dirty="0" err="1">
                <a:solidFill>
                  <a:schemeClr val="bg1">
                    <a:lumMod val="85000"/>
                  </a:schemeClr>
                </a:solidFill>
              </a:rPr>
              <a:t>solution</a:t>
            </a:r>
            <a:endParaRPr lang="en-GB" sz="36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319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46431" y="4550066"/>
            <a:ext cx="4500000" cy="135000"/>
          </a:xfrm>
        </p:spPr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sp>
        <p:nvSpPr>
          <p:cNvPr id="22" name="Text Placeholder 6"/>
          <p:cNvSpPr txBox="1">
            <a:spLocks/>
          </p:cNvSpPr>
          <p:nvPr/>
        </p:nvSpPr>
        <p:spPr>
          <a:xfrm>
            <a:off x="363311" y="1158154"/>
            <a:ext cx="8506369" cy="2886307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360363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Free Data-linking tool provides one click access to relevant stored data sets 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50+ leading domain specific data repositories 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Linking enabled by in-article accession numbers, data DOI’s, or data banners</a:t>
            </a:r>
          </a:p>
        </p:txBody>
      </p:sp>
      <p:sp>
        <p:nvSpPr>
          <p:cNvPr id="17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63311" y="380204"/>
            <a:ext cx="6869827" cy="462759"/>
          </a:xfrm>
        </p:spPr>
        <p:txBody>
          <a:bodyPr/>
          <a:lstStyle/>
          <a:p>
            <a:r>
              <a:rPr lang="en-US" sz="2800" dirty="0"/>
              <a:t>Linking to external data repositories</a:t>
            </a: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222" y="2439076"/>
            <a:ext cx="2058035" cy="1328989"/>
          </a:xfrm>
          <a:prstGeom prst="rect">
            <a:avLst/>
          </a:prstGeom>
          <a:ln w="9525">
            <a:solidFill>
              <a:srgbClr val="A7A8AA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014" y="2470335"/>
            <a:ext cx="2156760" cy="1382149"/>
          </a:xfrm>
          <a:prstGeom prst="rect">
            <a:avLst/>
          </a:prstGeom>
          <a:ln>
            <a:solidFill>
              <a:srgbClr val="A7A8AA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1" name="Rectangular Callout 16"/>
          <p:cNvSpPr/>
          <p:nvPr/>
        </p:nvSpPr>
        <p:spPr>
          <a:xfrm>
            <a:off x="747266" y="3592007"/>
            <a:ext cx="2285029" cy="516045"/>
          </a:xfrm>
          <a:prstGeom prst="wedgeRectCallout">
            <a:avLst>
              <a:gd name="adj1" fmla="val 49248"/>
              <a:gd name="adj2" fmla="val -147100"/>
            </a:avLst>
          </a:prstGeom>
          <a:solidFill>
            <a:srgbClr val="007398"/>
          </a:solidFill>
          <a:ln w="25400" cap="flat" cmpd="sng" algn="ctr">
            <a:solidFill>
              <a:srgbClr val="007398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3" charset="-128"/>
                <a:cs typeface="Arial" panose="020B0604020202020204" pitchFamily="34" charset="0"/>
              </a:rPr>
              <a:t>Linking through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3" charset="-128"/>
                <a:cs typeface="Arial" panose="020B0604020202020204" pitchFamily="34" charset="0"/>
              </a:rPr>
              <a:t>in-article data accession number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13" charset="-128"/>
              <a:cs typeface="Arial" panose="020B0604020202020204" pitchFamily="34" charset="0"/>
            </a:endParaRPr>
          </a:p>
        </p:txBody>
      </p:sp>
      <p:sp>
        <p:nvSpPr>
          <p:cNvPr id="23" name="Rectangular Callout 18"/>
          <p:cNvSpPr/>
          <p:nvPr/>
        </p:nvSpPr>
        <p:spPr>
          <a:xfrm>
            <a:off x="6436817" y="1616657"/>
            <a:ext cx="2194000" cy="445724"/>
          </a:xfrm>
          <a:prstGeom prst="wedgeRectCallout">
            <a:avLst>
              <a:gd name="adj1" fmla="val -34286"/>
              <a:gd name="adj2" fmla="val 119174"/>
            </a:avLst>
          </a:prstGeom>
          <a:solidFill>
            <a:srgbClr val="007398"/>
          </a:solidFill>
          <a:ln w="25400" cap="flat" cmpd="sng" algn="ctr">
            <a:solidFill>
              <a:srgbClr val="007398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6600"/>
              </a:buClr>
              <a:buSzPct val="850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3" charset="-128"/>
                <a:cs typeface="Arial" panose="020B0604020202020204" pitchFamily="34" charset="0"/>
              </a:rPr>
              <a:t>Database banners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3" charset="-128"/>
                <a:cs typeface="Arial" panose="020B0604020202020204" pitchFamily="34" charset="0"/>
              </a:rPr>
              <a:t>shown next to the article on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13" charset="-128"/>
                <a:cs typeface="Arial" panose="020B0604020202020204" pitchFamily="34" charset="0"/>
              </a:rPr>
              <a:t>ScienceDirect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13" charset="-128"/>
              <a:cs typeface="Arial" panose="020B0604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425014" y="4108052"/>
            <a:ext cx="328992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e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://www.elsevier.com/databaselinking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10956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47314" y="1932754"/>
            <a:ext cx="8078229" cy="2010596"/>
          </a:xfrm>
        </p:spPr>
        <p:txBody>
          <a:bodyPr/>
          <a:lstStyle/>
          <a:p>
            <a:r>
              <a:rPr lang="en-US" dirty="0"/>
              <a:t>More</a:t>
            </a:r>
            <a:br>
              <a:rPr lang="en-US" dirty="0"/>
            </a:br>
            <a:r>
              <a:rPr lang="en-US" dirty="0"/>
              <a:t>transpare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2224" y="235980"/>
            <a:ext cx="4862415" cy="4862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9590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C1C0083-21D7-1440-932E-54B27879D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312" y="380204"/>
            <a:ext cx="6869827" cy="462759"/>
          </a:xfrm>
        </p:spPr>
        <p:txBody>
          <a:bodyPr/>
          <a:lstStyle/>
          <a:p>
            <a:r>
              <a:rPr lang="en-GB" sz="2800" dirty="0"/>
              <a:t>Open peer review reports</a:t>
            </a:r>
            <a:endParaRPr lang="en-US" sz="280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151914" y="1769549"/>
            <a:ext cx="1606808" cy="2102655"/>
          </a:xfrm>
          <a:solidFill>
            <a:schemeClr val="bg1">
              <a:lumMod val="95000"/>
            </a:schemeClr>
          </a:solidFill>
          <a:ln>
            <a:solidFill>
              <a:schemeClr val="bg2"/>
            </a:solidFill>
          </a:ln>
        </p:spPr>
        <p:txBody>
          <a:bodyPr/>
          <a:lstStyle/>
          <a:p>
            <a:pPr algn="r">
              <a:lnSpc>
                <a:spcPct val="150000"/>
              </a:lnSpc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Forward look</a:t>
            </a:r>
          </a:p>
          <a:p>
            <a:pPr algn="r">
              <a:lnSpc>
                <a:spcPct val="150000"/>
              </a:lnSpc>
            </a:pP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Extend to other interested journals and provide more data about the peer review process on </a:t>
            </a:r>
            <a:r>
              <a:rPr lang="en-US" sz="1200" b="0" dirty="0" err="1">
                <a:latin typeface="Arial" panose="020B0604020202020204" pitchFamily="34" charset="0"/>
                <a:cs typeface="Arial" panose="020B0604020202020204" pitchFamily="34" charset="0"/>
              </a:rPr>
              <a:t>ScienceDirect</a:t>
            </a:r>
            <a:r>
              <a:rPr lang="en-US" sz="1200" b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/>
          </p:cNvPr>
          <p:cNvSpPr txBox="1"/>
          <p:nvPr/>
        </p:nvSpPr>
        <p:spPr>
          <a:xfrm>
            <a:off x="370860" y="965328"/>
            <a:ext cx="83878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en-GB" sz="1400" kern="0" dirty="0"/>
              <a:t>Pilot in 5 journals to experiment with publishing peer review reports as publicly available research outputs with their own DOI. 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58805" y="2094057"/>
            <a:ext cx="2107114" cy="2062318"/>
          </a:xfrm>
          <a:prstGeom prst="rect">
            <a:avLst/>
          </a:prstGeom>
          <a:solidFill>
            <a:srgbClr val="ACD2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46" indent="-171446" defTabSz="914378">
              <a:buClr>
                <a:srgbClr val="FF6C00"/>
              </a:buClr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chemeClr val="tx1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70% of those surveyed believe that reports are more in depth and constructive i.e. improved and more useful to authors, as a result of being made open</a:t>
            </a:r>
          </a:p>
          <a:p>
            <a:pPr marL="171446" indent="-171446" defTabSz="914378">
              <a:buClr>
                <a:srgbClr val="FF6C00"/>
              </a:buClr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chemeClr val="tx1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Some concern it may make it harder to find reviewers.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58805" y="1610911"/>
            <a:ext cx="2107114" cy="393948"/>
          </a:xfrm>
          <a:prstGeom prst="rect">
            <a:avLst/>
          </a:prstGeom>
          <a:solidFill>
            <a:srgbClr val="3679E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sz="1100" b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Kozuka Gothic Pr6N L" panose="020B0200000000000000" pitchFamily="34" charset="-128"/>
                <a:cs typeface="Arial" panose="020B0604020202020204" pitchFamily="34" charset="0"/>
              </a:rPr>
              <a:t>Editor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2626617" y="1610911"/>
            <a:ext cx="2107114" cy="393948"/>
          </a:xfrm>
          <a:prstGeom prst="rect">
            <a:avLst/>
          </a:prstGeom>
          <a:solidFill>
            <a:srgbClr val="3679E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sz="1100" b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Kozuka Gothic Pr6N L" panose="020B0200000000000000" pitchFamily="34" charset="-128"/>
                <a:cs typeface="Arial" panose="020B0604020202020204" pitchFamily="34" charset="0"/>
              </a:rPr>
              <a:t>Reviewer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794429" y="1610911"/>
            <a:ext cx="2107114" cy="393948"/>
          </a:xfrm>
          <a:prstGeom prst="rect">
            <a:avLst/>
          </a:prstGeom>
          <a:solidFill>
            <a:srgbClr val="3679E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sz="1100" b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Kozuka Gothic Pr6N L" panose="020B0200000000000000" pitchFamily="34" charset="-128"/>
                <a:cs typeface="Arial" panose="020B0604020202020204" pitchFamily="34" charset="0"/>
              </a:rPr>
              <a:t>Author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626617" y="2094057"/>
            <a:ext cx="2107114" cy="2062318"/>
          </a:xfrm>
          <a:prstGeom prst="rect">
            <a:avLst/>
          </a:prstGeom>
          <a:solidFill>
            <a:srgbClr val="ACD2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46" indent="-171446" defTabSz="914378">
              <a:buClr>
                <a:srgbClr val="FF6C00"/>
              </a:buClr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chemeClr val="tx1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Like the ability to get recognition</a:t>
            </a:r>
          </a:p>
          <a:p>
            <a:pPr marL="171446" indent="-171446" defTabSz="914378">
              <a:buClr>
                <a:srgbClr val="FF6C00"/>
              </a:buClr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chemeClr val="tx1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Over 95% said publishing review reports didn’t influence their recommendation nor would it influence them accepting further review invites for the journal.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794429" y="2097111"/>
            <a:ext cx="2107114" cy="2062318"/>
          </a:xfrm>
          <a:prstGeom prst="rect">
            <a:avLst/>
          </a:prstGeom>
          <a:solidFill>
            <a:srgbClr val="ACD2F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46" indent="-171446" defTabSz="914378">
              <a:buClr>
                <a:srgbClr val="FF6C00"/>
              </a:buClr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chemeClr val="tx1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Generally positive about having open peer review reports next to their article</a:t>
            </a:r>
          </a:p>
          <a:p>
            <a:pPr marL="171446" indent="-171446" defTabSz="914378">
              <a:buClr>
                <a:srgbClr val="FF6C00"/>
              </a:buClr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chemeClr val="tx1"/>
                </a:solidFill>
                <a:latin typeface="+mj-lt"/>
                <a:ea typeface="Kozuka Gothic Pr6N L" panose="020B0200000000000000" pitchFamily="34" charset="-128"/>
                <a:cs typeface="NexusSansPro" panose="020B0504030101020102" pitchFamily="34" charset="0"/>
              </a:rPr>
              <a:t>Little impact on their journal choice, indeed slightly more likely to choose a journal offering this.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46431" y="4550066"/>
            <a:ext cx="4500000" cy="135000"/>
          </a:xfrm>
        </p:spPr>
        <p:txBody>
          <a:bodyPr/>
          <a:lstStyle/>
          <a:p>
            <a:r>
              <a:rPr lang="en-US" sz="800"/>
              <a:t>Title (change with Header &amp; footer button)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6955362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524" y="282338"/>
            <a:ext cx="7928508" cy="462759"/>
          </a:xfrm>
        </p:spPr>
        <p:txBody>
          <a:bodyPr/>
          <a:lstStyle/>
          <a:p>
            <a:r>
              <a:rPr lang="en-US" sz="2800" dirty="0"/>
              <a:t>Comprehensive Journal Data Guidelin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800"/>
              <a:t>Title (change with Header &amp; footer button)</a:t>
            </a:r>
            <a:endParaRPr lang="de-DE" sz="800" dirty="0"/>
          </a:p>
        </p:txBody>
      </p:sp>
      <p:pic>
        <p:nvPicPr>
          <p:cNvPr id="6" name="Picture 5">
            <a:extLst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524" y="1008031"/>
            <a:ext cx="6158462" cy="1456532"/>
          </a:xfrm>
          <a:prstGeom prst="rect">
            <a:avLst/>
          </a:prstGeom>
        </p:spPr>
      </p:pic>
      <p:pic>
        <p:nvPicPr>
          <p:cNvPr id="7" name="Picture 6">
            <a:extLst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4870" y="2867724"/>
            <a:ext cx="6596034" cy="1166501"/>
          </a:xfrm>
          <a:prstGeom prst="rect">
            <a:avLst/>
          </a:prstGeom>
        </p:spPr>
      </p:pic>
      <p:sp>
        <p:nvSpPr>
          <p:cNvPr id="8" name="Rectangle 7">
            <a:extLst/>
          </p:cNvPr>
          <p:cNvSpPr/>
          <p:nvPr/>
        </p:nvSpPr>
        <p:spPr>
          <a:xfrm>
            <a:off x="396880" y="2505070"/>
            <a:ext cx="615846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900" i="1" dirty="0">
                <a:solidFill>
                  <a:srgbClr val="007398"/>
                </a:solidFill>
              </a:rPr>
              <a:t>https://www.elsevier.com/authors/author-services/research-data/data-guidelines</a:t>
            </a:r>
          </a:p>
        </p:txBody>
      </p:sp>
      <p:sp>
        <p:nvSpPr>
          <p:cNvPr id="9" name="Rectangle 8">
            <a:extLst/>
          </p:cNvPr>
          <p:cNvSpPr/>
          <p:nvPr/>
        </p:nvSpPr>
        <p:spPr>
          <a:xfrm>
            <a:off x="4449781" y="4097335"/>
            <a:ext cx="421112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t-IT" sz="1000" i="1" dirty="0">
                <a:solidFill>
                  <a:srgbClr val="007398"/>
                </a:solidFill>
              </a:rPr>
              <a:t>https://cos.io/our-services/top-guidelines/</a:t>
            </a:r>
          </a:p>
        </p:txBody>
      </p:sp>
    </p:spTree>
    <p:extLst>
      <p:ext uri="{BB962C8B-B14F-4D97-AF65-F5344CB8AC3E}">
        <p14:creationId xmlns:p14="http://schemas.microsoft.com/office/powerpoint/2010/main" val="10816525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46431" y="4550066"/>
            <a:ext cx="4500000" cy="135000"/>
          </a:xfrm>
        </p:spPr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cxnSp>
        <p:nvCxnSpPr>
          <p:cNvPr id="20" name="Straight Connector 19"/>
          <p:cNvCxnSpPr/>
          <p:nvPr/>
        </p:nvCxnSpPr>
        <p:spPr>
          <a:xfrm>
            <a:off x="5322179" y="1311498"/>
            <a:ext cx="5602" cy="277003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6"/>
          <p:cNvSpPr txBox="1">
            <a:spLocks/>
          </p:cNvSpPr>
          <p:nvPr/>
        </p:nvSpPr>
        <p:spPr>
          <a:xfrm>
            <a:off x="363311" y="1242130"/>
            <a:ext cx="5183120" cy="2937984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360363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Authors are encouraged to </a:t>
            </a:r>
            <a:r>
              <a:rPr lang="en-US" sz="1200" b="0" dirty="0">
                <a:solidFill>
                  <a:srgbClr val="FF6C00"/>
                </a:solidFill>
              </a:rPr>
              <a:t>cite datasets 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Used to access a </a:t>
            </a:r>
            <a:r>
              <a:rPr lang="en-US" sz="1200" b="0" dirty="0">
                <a:solidFill>
                  <a:srgbClr val="FF6C00"/>
                </a:solidFill>
              </a:rPr>
              <a:t>direct link </a:t>
            </a:r>
            <a:r>
              <a:rPr lang="en-US" sz="1200" b="0" dirty="0"/>
              <a:t>to stored datasets and encourage data </a:t>
            </a:r>
            <a:r>
              <a:rPr lang="en-US" sz="1200" b="0" dirty="0">
                <a:solidFill>
                  <a:srgbClr val="FF6C00"/>
                </a:solidFill>
              </a:rPr>
              <a:t>sharing</a:t>
            </a:r>
            <a:r>
              <a:rPr lang="en-US" sz="1200" b="0" dirty="0"/>
              <a:t> 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Implemented the </a:t>
            </a:r>
            <a:r>
              <a:rPr lang="en-US" sz="1200" b="0" dirty="0">
                <a:solidFill>
                  <a:srgbClr val="FF6C00"/>
                </a:solidFill>
              </a:rPr>
              <a:t>FORCE 11 </a:t>
            </a:r>
            <a:r>
              <a:rPr lang="en-US" sz="1200" b="0" dirty="0"/>
              <a:t>data citation principles for </a:t>
            </a:r>
            <a:r>
              <a:rPr lang="en-US" sz="1200" b="0" dirty="0">
                <a:solidFill>
                  <a:srgbClr val="FF6C00"/>
                </a:solidFill>
              </a:rPr>
              <a:t>all journals 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Data </a:t>
            </a:r>
            <a:r>
              <a:rPr lang="en-US" sz="1200" b="0" dirty="0">
                <a:solidFill>
                  <a:srgbClr val="FF6C00"/>
                </a:solidFill>
              </a:rPr>
              <a:t>references</a:t>
            </a:r>
            <a:r>
              <a:rPr lang="en-US" sz="1200" b="0" dirty="0"/>
              <a:t> contain different elements than article references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Require new fields to be added</a:t>
            </a:r>
          </a:p>
          <a:p>
            <a:pPr marL="171450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Tags to distinguish between data and article references </a:t>
            </a:r>
          </a:p>
        </p:txBody>
      </p:sp>
      <p:sp>
        <p:nvSpPr>
          <p:cNvPr id="17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63311" y="380204"/>
            <a:ext cx="6869827" cy="462759"/>
          </a:xfrm>
        </p:spPr>
        <p:txBody>
          <a:bodyPr/>
          <a:lstStyle/>
          <a:p>
            <a:r>
              <a:rPr lang="en-US" sz="2800" dirty="0"/>
              <a:t>Implemented data citations 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366" y="2249101"/>
            <a:ext cx="2964401" cy="17601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4248" y="1151975"/>
            <a:ext cx="2086558" cy="1097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21432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46431" y="4550066"/>
            <a:ext cx="4500000" cy="135000"/>
          </a:xfrm>
        </p:spPr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sp>
        <p:nvSpPr>
          <p:cNvPr id="22" name="Text Placeholder 6"/>
          <p:cNvSpPr txBox="1">
            <a:spLocks/>
          </p:cNvSpPr>
          <p:nvPr/>
        </p:nvSpPr>
        <p:spPr>
          <a:xfrm>
            <a:off x="363311" y="1223167"/>
            <a:ext cx="6603975" cy="3128970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360363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100" b="0" dirty="0"/>
              <a:t>WHO calling for main findings </a:t>
            </a:r>
            <a:r>
              <a:rPr lang="en-US" sz="1100" b="0" dirty="0">
                <a:solidFill>
                  <a:srgbClr val="FF6C00"/>
                </a:solidFill>
              </a:rPr>
              <a:t>submitted for publication </a:t>
            </a:r>
            <a:r>
              <a:rPr lang="en-US" sz="1100" b="0" dirty="0"/>
              <a:t>- including negative findings</a:t>
            </a:r>
          </a:p>
          <a:p>
            <a:pPr marL="531813" lvl="1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Launch of journal </a:t>
            </a:r>
            <a:r>
              <a:rPr lang="en-US" sz="1200" b="0" i="1" dirty="0"/>
              <a:t>New Negatives in Plant Sciences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100" b="0" dirty="0"/>
              <a:t>Scientists need a </a:t>
            </a:r>
            <a:r>
              <a:rPr lang="en-US" sz="1100" b="0" dirty="0">
                <a:solidFill>
                  <a:srgbClr val="FF6C00"/>
                </a:solidFill>
              </a:rPr>
              <a:t>clear framework</a:t>
            </a:r>
            <a:r>
              <a:rPr lang="en-US" sz="1100" b="0" dirty="0"/>
              <a:t> to submit data for review and publication. </a:t>
            </a:r>
          </a:p>
          <a:p>
            <a:pPr marL="531813" lvl="1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Launch journals </a:t>
            </a:r>
            <a:r>
              <a:rPr lang="en-US" sz="1200" b="0" i="1" dirty="0"/>
              <a:t>Data in Brief </a:t>
            </a:r>
            <a:r>
              <a:rPr lang="en-US" sz="1200" b="0" dirty="0"/>
              <a:t>and </a:t>
            </a:r>
            <a:r>
              <a:rPr lang="en-US" sz="1200" b="0" i="1" dirty="0"/>
              <a:t>Genomics Data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100" b="0" dirty="0" err="1"/>
              <a:t>AllTrials</a:t>
            </a:r>
            <a:r>
              <a:rPr lang="en-US" sz="1100" b="0" dirty="0"/>
              <a:t> calls for all clinical trials to be </a:t>
            </a:r>
            <a:r>
              <a:rPr lang="en-US" sz="1100" b="0" dirty="0">
                <a:solidFill>
                  <a:srgbClr val="FF6C00"/>
                </a:solidFill>
              </a:rPr>
              <a:t>registered</a:t>
            </a:r>
            <a:r>
              <a:rPr lang="en-US" sz="1100" b="0" dirty="0"/>
              <a:t> with full </a:t>
            </a:r>
            <a:r>
              <a:rPr lang="en-US" sz="1100" b="0" dirty="0">
                <a:solidFill>
                  <a:srgbClr val="FF6C00"/>
                </a:solidFill>
              </a:rPr>
              <a:t>methods</a:t>
            </a:r>
            <a:r>
              <a:rPr lang="en-US" sz="1100" b="0" dirty="0"/>
              <a:t> and summary </a:t>
            </a:r>
            <a:r>
              <a:rPr lang="en-US" sz="1100" b="0" dirty="0">
                <a:solidFill>
                  <a:srgbClr val="FF6C00"/>
                </a:solidFill>
              </a:rPr>
              <a:t>results</a:t>
            </a:r>
            <a:r>
              <a:rPr lang="en-US" sz="1100" b="0" dirty="0"/>
              <a:t> reported</a:t>
            </a:r>
          </a:p>
          <a:p>
            <a:pPr marL="531813" lvl="1" indent="-1714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1200" b="0" dirty="0"/>
              <a:t>Launch of journal </a:t>
            </a:r>
            <a:r>
              <a:rPr lang="en-US" sz="1200" b="0" i="1" dirty="0"/>
              <a:t>Contemporary Clinical Trials Communications</a:t>
            </a:r>
          </a:p>
          <a:p>
            <a:pPr marL="171450" indent="-1714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100" b="0" dirty="0"/>
              <a:t>Participation in new </a:t>
            </a:r>
            <a:r>
              <a:rPr lang="en-US" sz="1100" b="0" dirty="0" err="1"/>
              <a:t>Crossref</a:t>
            </a:r>
            <a:r>
              <a:rPr lang="en-US" sz="1100" b="0" dirty="0"/>
              <a:t> pilot to </a:t>
            </a:r>
            <a:r>
              <a:rPr lang="en-US" sz="1100" b="0" dirty="0">
                <a:solidFill>
                  <a:srgbClr val="FF6C00"/>
                </a:solidFill>
              </a:rPr>
              <a:t>link</a:t>
            </a:r>
            <a:r>
              <a:rPr lang="en-US" sz="1100" b="0" dirty="0"/>
              <a:t> published </a:t>
            </a:r>
            <a:r>
              <a:rPr lang="en-US" sz="1100" b="0" dirty="0">
                <a:solidFill>
                  <a:srgbClr val="FF6C00"/>
                </a:solidFill>
              </a:rPr>
              <a:t>reports</a:t>
            </a:r>
            <a:r>
              <a:rPr lang="en-US" sz="1100" b="0" dirty="0"/>
              <a:t> of clinical trials to the registered </a:t>
            </a:r>
            <a:r>
              <a:rPr lang="en-US" sz="1100" b="0" dirty="0">
                <a:solidFill>
                  <a:srgbClr val="FF6C00"/>
                </a:solidFill>
              </a:rPr>
              <a:t>study</a:t>
            </a:r>
          </a:p>
        </p:txBody>
      </p:sp>
      <p:sp>
        <p:nvSpPr>
          <p:cNvPr id="17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63311" y="380204"/>
            <a:ext cx="6869827" cy="462759"/>
          </a:xfrm>
        </p:spPr>
        <p:txBody>
          <a:bodyPr/>
          <a:lstStyle/>
          <a:p>
            <a:r>
              <a:rPr lang="en-US" sz="2800" dirty="0"/>
              <a:t>Enhanced Report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7670B34-D3C8-47EB-AB0B-388858FB073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75"/>
          <a:stretch/>
        </p:blipFill>
        <p:spPr>
          <a:xfrm>
            <a:off x="6967286" y="0"/>
            <a:ext cx="1715871" cy="4444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1807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063398-2A19-44FE-AD6D-743982F580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lt-LT" dirty="0"/>
              <a:t>Ačiū už dėmesį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111AA3-DE5F-4B18-A3D9-801F68E38B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pl-PL" sz="2800" i="1" dirty="0" err="1"/>
              <a:t>Questions</a:t>
            </a:r>
            <a:r>
              <a:rPr lang="pl-PL" sz="2800" i="1" dirty="0"/>
              <a:t> </a:t>
            </a:r>
            <a:r>
              <a:rPr lang="pl-PL" sz="2800" i="1" dirty="0" err="1"/>
              <a:t>or</a:t>
            </a:r>
            <a:r>
              <a:rPr lang="pl-PL" sz="2800" i="1" dirty="0"/>
              <a:t> </a:t>
            </a:r>
            <a:r>
              <a:rPr lang="pl-PL" sz="2800" i="1" dirty="0" err="1"/>
              <a:t>comments</a:t>
            </a:r>
            <a:r>
              <a:rPr lang="pl-PL" sz="2800" i="1" dirty="0"/>
              <a:t>? </a:t>
            </a:r>
          </a:p>
          <a:p>
            <a:r>
              <a:rPr lang="pl-PL" sz="2800" i="1" dirty="0"/>
              <a:t>k.gaca-zajac@elsevier.com</a:t>
            </a:r>
            <a:endParaRPr lang="en-GB" sz="2800" i="1" dirty="0"/>
          </a:p>
        </p:txBody>
      </p:sp>
    </p:spTree>
    <p:extLst>
      <p:ext uri="{BB962C8B-B14F-4D97-AF65-F5344CB8AC3E}">
        <p14:creationId xmlns:p14="http://schemas.microsoft.com/office/powerpoint/2010/main" val="3535546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84640" y="282792"/>
            <a:ext cx="7928508" cy="462759"/>
          </a:xfrm>
        </p:spPr>
        <p:txBody>
          <a:bodyPr/>
          <a:lstStyle/>
          <a:p>
            <a:r>
              <a:rPr lang="pl-PL" sz="2800" dirty="0">
                <a:solidFill>
                  <a:srgbClr val="53565A"/>
                </a:solidFill>
              </a:rPr>
              <a:t>How do we </a:t>
            </a:r>
            <a:r>
              <a:rPr lang="pl-PL" sz="2800" i="1" dirty="0" err="1">
                <a:solidFill>
                  <a:srgbClr val="53565A"/>
                </a:solidFill>
              </a:rPr>
              <a:t>understand</a:t>
            </a:r>
            <a:r>
              <a:rPr lang="en-US" sz="2800" dirty="0">
                <a:solidFill>
                  <a:srgbClr val="53565A"/>
                </a:solidFill>
              </a:rPr>
              <a:t> open science?</a:t>
            </a: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386817" y="984739"/>
            <a:ext cx="3762277" cy="391081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Open Science describes a way of working which makes research more </a:t>
            </a:r>
            <a:r>
              <a:rPr lang="en-GB" sz="1400" dirty="0">
                <a:solidFill>
                  <a:srgbClr val="FF6C00"/>
                </a:solidFill>
              </a:rPr>
              <a:t>inclusive</a:t>
            </a:r>
            <a:r>
              <a:rPr lang="en-GB" sz="1400" dirty="0"/>
              <a:t>, more </a:t>
            </a:r>
            <a:r>
              <a:rPr lang="en-GB" sz="1400" dirty="0">
                <a:solidFill>
                  <a:srgbClr val="FF6C00"/>
                </a:solidFill>
              </a:rPr>
              <a:t>collaborative</a:t>
            </a:r>
            <a:r>
              <a:rPr lang="en-GB" sz="1400" dirty="0"/>
              <a:t> and more </a:t>
            </a:r>
            <a:r>
              <a:rPr lang="en-GB" sz="1400" dirty="0">
                <a:solidFill>
                  <a:srgbClr val="FF6C00"/>
                </a:solidFill>
              </a:rPr>
              <a:t>transparent</a:t>
            </a:r>
            <a:r>
              <a:rPr lang="en-GB" sz="1400" dirty="0"/>
              <a:t>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lsevier partners with the research community to empower open science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We believe open science can benefit research and society and drive research performance. </a:t>
            </a:r>
          </a:p>
          <a:p>
            <a:endParaRPr lang="en-US" sz="1400" dirty="0"/>
          </a:p>
          <a:p>
            <a:endParaRPr lang="en-US" sz="1400" dirty="0"/>
          </a:p>
          <a:p>
            <a:endParaRPr lang="en-US" sz="1600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4207323" y="1048043"/>
            <a:ext cx="1542" cy="372784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9A252C3E-0C58-460A-8DA5-01DDDC152B42}"/>
              </a:ext>
            </a:extLst>
          </p:cNvPr>
          <p:cNvSpPr txBox="1"/>
          <p:nvPr/>
        </p:nvSpPr>
        <p:spPr>
          <a:xfrm>
            <a:off x="4488066" y="1048043"/>
            <a:ext cx="384756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lements of OS: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Open access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Open data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Open tools and platforms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Science and society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Research integrity and reproducibility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Open metrics</a:t>
            </a:r>
          </a:p>
        </p:txBody>
      </p:sp>
    </p:spTree>
    <p:extLst>
      <p:ext uri="{BB962C8B-B14F-4D97-AF65-F5344CB8AC3E}">
        <p14:creationId xmlns:p14="http://schemas.microsoft.com/office/powerpoint/2010/main" val="18863442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0" y="204516"/>
            <a:ext cx="7928508" cy="462759"/>
          </a:xfrm>
        </p:spPr>
        <p:txBody>
          <a:bodyPr/>
          <a:lstStyle/>
          <a:p>
            <a:r>
              <a:rPr lang="en-US" sz="2800" dirty="0"/>
              <a:t>Global approaches to open scie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580" y="845880"/>
            <a:ext cx="5621186" cy="132586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uropean Commission’s 3 main policy goals for research and innovation are </a:t>
            </a:r>
            <a:r>
              <a:rPr lang="en-US" sz="1600" dirty="0">
                <a:solidFill>
                  <a:srgbClr val="FF6C00"/>
                </a:solidFill>
              </a:rPr>
              <a:t>open innovation</a:t>
            </a:r>
            <a:r>
              <a:rPr lang="en-US" sz="1600" dirty="0"/>
              <a:t>, </a:t>
            </a:r>
            <a:r>
              <a:rPr lang="en-US" sz="1600" dirty="0">
                <a:solidFill>
                  <a:srgbClr val="FF6C00"/>
                </a:solidFill>
              </a:rPr>
              <a:t>open science </a:t>
            </a:r>
            <a:r>
              <a:rPr lang="en-US" sz="1600" dirty="0"/>
              <a:t>and </a:t>
            </a:r>
            <a:r>
              <a:rPr lang="en-US" sz="1600" dirty="0">
                <a:solidFill>
                  <a:srgbClr val="FF6C00"/>
                </a:solidFill>
              </a:rPr>
              <a:t>open to the world</a:t>
            </a:r>
            <a:r>
              <a:rPr lang="en-US" sz="1600" dirty="0"/>
              <a:t>. </a:t>
            </a:r>
          </a:p>
          <a:p>
            <a:endParaRPr lang="en-US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pic>
        <p:nvPicPr>
          <p:cNvPr id="10" name="Picture 8" descr="Science 2.0 consultation">
            <a:extLst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1429" y="500280"/>
            <a:ext cx="1859659" cy="128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 Placeholder 2"/>
          <p:cNvSpPr txBox="1">
            <a:spLocks/>
          </p:cNvSpPr>
          <p:nvPr/>
        </p:nvSpPr>
        <p:spPr>
          <a:xfrm>
            <a:off x="772580" y="2171741"/>
            <a:ext cx="5621186" cy="2026925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360363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772580" y="2639410"/>
            <a:ext cx="3029020" cy="1325861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360363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6113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AIR Data</a:t>
            </a:r>
          </a:p>
          <a:p>
            <a:pPr marL="646113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400" dirty="0"/>
              <a:t>Publishing models for OA</a:t>
            </a:r>
            <a:endParaRPr lang="en-US" sz="1400" dirty="0"/>
          </a:p>
          <a:p>
            <a:pPr marL="646113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/>
              <a:t>Open Science Cloud</a:t>
            </a:r>
          </a:p>
          <a:p>
            <a:pPr marL="646113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400" dirty="0"/>
              <a:t>Alternative Metrics</a:t>
            </a:r>
            <a:endParaRPr lang="en-US" sz="1400" dirty="0"/>
          </a:p>
          <a:p>
            <a:pPr lvl="1" indent="0">
              <a:lnSpc>
                <a:spcPct val="150000"/>
              </a:lnSpc>
              <a:buNone/>
            </a:pPr>
            <a:endParaRPr lang="en-US" sz="1400" dirty="0"/>
          </a:p>
          <a:p>
            <a:pPr marL="646113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46113" lvl="1" indent="-285750">
              <a:buFont typeface="Wingdings" panose="05000000000000000000" pitchFamily="2" charset="2"/>
              <a:buChar char="Ø"/>
            </a:pPr>
            <a:endParaRPr lang="en-US" sz="1600" dirty="0"/>
          </a:p>
        </p:txBody>
      </p:sp>
      <p:sp>
        <p:nvSpPr>
          <p:cNvPr id="37" name="Text Placeholder 2"/>
          <p:cNvSpPr txBox="1">
            <a:spLocks/>
          </p:cNvSpPr>
          <p:nvPr/>
        </p:nvSpPr>
        <p:spPr>
          <a:xfrm>
            <a:off x="3583173" y="2639409"/>
            <a:ext cx="3029020" cy="1325861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360363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6113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ewards</a:t>
            </a:r>
          </a:p>
          <a:p>
            <a:pPr marL="646113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400" dirty="0"/>
              <a:t>Research integrity</a:t>
            </a:r>
          </a:p>
          <a:p>
            <a:pPr marL="646113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/>
              <a:t>Citizen Science</a:t>
            </a:r>
          </a:p>
          <a:p>
            <a:pPr marL="646113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GB" sz="1400" dirty="0"/>
              <a:t>Skills &amp; Training</a:t>
            </a:r>
          </a:p>
          <a:p>
            <a:pPr lvl="1" indent="0">
              <a:lnSpc>
                <a:spcPct val="150000"/>
              </a:lnSpc>
              <a:buNone/>
            </a:pPr>
            <a:endParaRPr lang="en-US" sz="1400" dirty="0"/>
          </a:p>
          <a:p>
            <a:pPr marL="646113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46113" lvl="1" indent="-285750">
              <a:buFont typeface="Wingdings" panose="05000000000000000000" pitchFamily="2" charset="2"/>
              <a:buChar char="Ø"/>
            </a:pPr>
            <a:endParaRPr lang="en-US" sz="1600" dirty="0"/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772580" y="2093176"/>
            <a:ext cx="7928508" cy="1325861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360363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pen Science Policy Platform </a:t>
            </a:r>
            <a:r>
              <a:rPr lang="en-US" sz="1600" dirty="0">
                <a:sym typeface="Wingdings" panose="05000000000000000000" pitchFamily="2" charset="2"/>
              </a:rPr>
              <a:t> recommendations based on 8 priorities: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82039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746" y="374657"/>
            <a:ext cx="7928508" cy="462759"/>
          </a:xfrm>
        </p:spPr>
        <p:txBody>
          <a:bodyPr/>
          <a:lstStyle/>
          <a:p>
            <a:r>
              <a:rPr lang="en-US" sz="2800" dirty="0"/>
              <a:t>Drivers behind open sc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772580" y="2171741"/>
            <a:ext cx="5621186" cy="2026925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360363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D24E817-F44F-4D95-BD16-66B9C6F5346D}"/>
              </a:ext>
            </a:extLst>
          </p:cNvPr>
          <p:cNvSpPr/>
          <p:nvPr/>
        </p:nvSpPr>
        <p:spPr>
          <a:xfrm>
            <a:off x="2589481" y="1115976"/>
            <a:ext cx="1744394" cy="933922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under mandates on OA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7F8DE77-27DD-4B07-800E-1F7073487FB4}"/>
              </a:ext>
            </a:extLst>
          </p:cNvPr>
          <p:cNvSpPr/>
          <p:nvPr/>
        </p:nvSpPr>
        <p:spPr>
          <a:xfrm>
            <a:off x="4507376" y="1115976"/>
            <a:ext cx="1744394" cy="933922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Research journal</a:t>
            </a:r>
          </a:p>
          <a:p>
            <a:pPr algn="ctr"/>
            <a:r>
              <a:rPr lang="en-US" sz="1400" dirty="0"/>
              <a:t>mandates on OA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30A4D12-2C78-45E7-98C2-3874AFA6C327}"/>
              </a:ext>
            </a:extLst>
          </p:cNvPr>
          <p:cNvSpPr/>
          <p:nvPr/>
        </p:nvSpPr>
        <p:spPr>
          <a:xfrm>
            <a:off x="3595921" y="2190360"/>
            <a:ext cx="1744394" cy="933922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Funder mandates on data archiving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0F88EC1-FFD2-45FB-8579-0D35FF1A9A93}"/>
              </a:ext>
            </a:extLst>
          </p:cNvPr>
          <p:cNvSpPr/>
          <p:nvPr/>
        </p:nvSpPr>
        <p:spPr>
          <a:xfrm>
            <a:off x="2589481" y="3264744"/>
            <a:ext cx="1744394" cy="933922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Journal policies on Open Data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51A4336-77ED-4417-A6B1-95807CBC4D99}"/>
              </a:ext>
            </a:extLst>
          </p:cNvPr>
          <p:cNvSpPr/>
          <p:nvPr/>
        </p:nvSpPr>
        <p:spPr>
          <a:xfrm>
            <a:off x="4507376" y="3264744"/>
            <a:ext cx="1744394" cy="933922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Journal policies</a:t>
            </a:r>
          </a:p>
          <a:p>
            <a:pPr algn="ctr"/>
            <a:r>
              <a:rPr lang="en-US" sz="1400" dirty="0"/>
              <a:t>with regards to</a:t>
            </a:r>
          </a:p>
          <a:p>
            <a:pPr algn="ctr"/>
            <a:r>
              <a:rPr lang="en-US" sz="1400" dirty="0"/>
              <a:t>Open Cod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52DD26-FA18-4AD7-9C08-411C3336E010}"/>
              </a:ext>
            </a:extLst>
          </p:cNvPr>
          <p:cNvSpPr txBox="1"/>
          <p:nvPr/>
        </p:nvSpPr>
        <p:spPr>
          <a:xfrm>
            <a:off x="6935372" y="4081963"/>
            <a:ext cx="184377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ource: The Lisbon Council</a:t>
            </a:r>
          </a:p>
        </p:txBody>
      </p:sp>
    </p:spTree>
    <p:extLst>
      <p:ext uri="{BB962C8B-B14F-4D97-AF65-F5344CB8AC3E}">
        <p14:creationId xmlns:p14="http://schemas.microsoft.com/office/powerpoint/2010/main" val="32096147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2580" y="421059"/>
            <a:ext cx="7928508" cy="462759"/>
          </a:xfrm>
        </p:spPr>
        <p:txBody>
          <a:bodyPr/>
          <a:lstStyle/>
          <a:p>
            <a:r>
              <a:rPr lang="en-US" sz="2800" dirty="0"/>
              <a:t>The Open Science Monito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580" y="1307091"/>
            <a:ext cx="5930676" cy="1109529"/>
          </a:xfrm>
        </p:spPr>
        <p:txBody>
          <a:bodyPr/>
          <a:lstStyle/>
          <a:p>
            <a:r>
              <a:rPr lang="en-US" sz="1600" dirty="0"/>
              <a:t>Approach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b="0" dirty="0"/>
              <a:t>To deliver a </a:t>
            </a:r>
            <a:r>
              <a:rPr lang="en-US" sz="1400" dirty="0"/>
              <a:t>monitoring system </a:t>
            </a:r>
            <a:r>
              <a:rPr lang="en-US" sz="1400" b="0" dirty="0"/>
              <a:t>(for Europe) and (global) </a:t>
            </a:r>
            <a:r>
              <a:rPr lang="en-US" sz="1400" dirty="0"/>
              <a:t>observatory for trends </a:t>
            </a:r>
            <a:r>
              <a:rPr lang="en-US" sz="1400" b="0" dirty="0"/>
              <a:t>in Open Science;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3C47A-2488-416B-89DF-02DC664DA84B}" type="datetime1">
              <a:rPr lang="nl-NL" sz="800" smtClean="0"/>
              <a:pPr/>
              <a:t>28-10-2019</a:t>
            </a:fld>
            <a:endParaRPr lang="de-DE" sz="8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800" dirty="0"/>
              <a:t>Title (change with Header &amp; footer button)</a:t>
            </a:r>
            <a:endParaRPr lang="de-DE" sz="800" dirty="0"/>
          </a:p>
        </p:txBody>
      </p:sp>
      <p:pic>
        <p:nvPicPr>
          <p:cNvPr id="10" name="Picture 8" descr="Science 2.0 consultation">
            <a:extLst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1429" y="500280"/>
            <a:ext cx="1859659" cy="1284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 Placeholder 2"/>
          <p:cNvSpPr txBox="1">
            <a:spLocks/>
          </p:cNvSpPr>
          <p:nvPr/>
        </p:nvSpPr>
        <p:spPr>
          <a:xfrm>
            <a:off x="772580" y="2171741"/>
            <a:ext cx="5621186" cy="2026925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34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360363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3400"/>
              </a:lnSpc>
              <a:spcBef>
                <a:spcPts val="375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65169F-D74D-4519-A371-1CC6FB34F0D8}"/>
              </a:ext>
            </a:extLst>
          </p:cNvPr>
          <p:cNvSpPr txBox="1"/>
          <p:nvPr/>
        </p:nvSpPr>
        <p:spPr>
          <a:xfrm>
            <a:off x="772580" y="2324583"/>
            <a:ext cx="773134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685800">
              <a:lnSpc>
                <a:spcPct val="150000"/>
              </a:lnSpc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en-US" sz="1400" dirty="0">
                <a:solidFill>
                  <a:srgbClr val="53565A"/>
                </a:solidFill>
              </a:rPr>
              <a:t>To </a:t>
            </a:r>
            <a:r>
              <a:rPr lang="en-US" sz="1400" b="1" dirty="0">
                <a:solidFill>
                  <a:srgbClr val="53565A"/>
                </a:solidFill>
              </a:rPr>
              <a:t>set up a global reference point for the Open Science </a:t>
            </a:r>
            <a:r>
              <a:rPr lang="en-US" sz="1400" dirty="0">
                <a:solidFill>
                  <a:srgbClr val="53565A"/>
                </a:solidFill>
              </a:rPr>
              <a:t>community to interact with;</a:t>
            </a:r>
          </a:p>
          <a:p>
            <a:pPr marL="285750" lvl="0" indent="-285750" defTabSz="685800">
              <a:lnSpc>
                <a:spcPct val="150000"/>
              </a:lnSpc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en-US" sz="1400" dirty="0">
                <a:solidFill>
                  <a:srgbClr val="53565A"/>
                </a:solidFill>
              </a:rPr>
              <a:t>To </a:t>
            </a:r>
            <a:r>
              <a:rPr lang="en-US" sz="1400" b="1" dirty="0">
                <a:solidFill>
                  <a:srgbClr val="53565A"/>
                </a:solidFill>
              </a:rPr>
              <a:t>determine the impacts of Open Science in the scientific domain</a:t>
            </a:r>
            <a:r>
              <a:rPr lang="en-US" sz="1400" dirty="0">
                <a:solidFill>
                  <a:srgbClr val="53565A"/>
                </a:solidFill>
              </a:rPr>
              <a:t>;</a:t>
            </a:r>
          </a:p>
          <a:p>
            <a:pPr marL="285750" lvl="0" indent="-285750" defTabSz="685800">
              <a:lnSpc>
                <a:spcPct val="150000"/>
              </a:lnSpc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en-US" sz="1400" dirty="0">
                <a:solidFill>
                  <a:srgbClr val="53565A"/>
                </a:solidFill>
              </a:rPr>
              <a:t>To provide </a:t>
            </a:r>
            <a:r>
              <a:rPr lang="en-US" sz="1400" b="1" dirty="0">
                <a:solidFill>
                  <a:srgbClr val="53565A"/>
                </a:solidFill>
              </a:rPr>
              <a:t>structured analysis of policy-relevant trends </a:t>
            </a:r>
            <a:r>
              <a:rPr lang="en-US" sz="1400" dirty="0">
                <a:solidFill>
                  <a:srgbClr val="53565A"/>
                </a:solidFill>
              </a:rPr>
              <a:t>in Open Science.</a:t>
            </a:r>
            <a:endParaRPr lang="en-US" sz="1200" dirty="0">
              <a:solidFill>
                <a:srgbClr val="53565A"/>
              </a:solidFill>
            </a:endParaRPr>
          </a:p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BE4ACD-4A4D-4F17-AFF4-2671D38C9728}"/>
              </a:ext>
            </a:extLst>
          </p:cNvPr>
          <p:cNvSpPr txBox="1"/>
          <p:nvPr/>
        </p:nvSpPr>
        <p:spPr>
          <a:xfrm>
            <a:off x="564493" y="3696224"/>
            <a:ext cx="8015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s a subcontractor, Elsevier provides data from Scopus, Mendeley and Plum Analytic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2FA13A4-7894-400C-BE48-11558925E4FF}"/>
              </a:ext>
            </a:extLst>
          </p:cNvPr>
          <p:cNvSpPr txBox="1"/>
          <p:nvPr/>
        </p:nvSpPr>
        <p:spPr>
          <a:xfrm>
            <a:off x="814995" y="955691"/>
            <a:ext cx="557877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hlinkClick r:id="rId4"/>
              </a:rPr>
              <a:t>https://ec.europa.eu/info/research-and-innovation/strategy/goals-research-and-innovation-policy/open-science/open-science-monitor_en</a:t>
            </a:r>
            <a:endParaRPr lang="en-US" sz="7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A6DC6EB-F61A-48EE-A241-CBFA22DF32F7}"/>
              </a:ext>
            </a:extLst>
          </p:cNvPr>
          <p:cNvSpPr txBox="1"/>
          <p:nvPr/>
        </p:nvSpPr>
        <p:spPr>
          <a:xfrm>
            <a:off x="6735733" y="3359170"/>
            <a:ext cx="184377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ource: The Lisbon Council</a:t>
            </a:r>
          </a:p>
        </p:txBody>
      </p:sp>
    </p:spTree>
    <p:extLst>
      <p:ext uri="{BB962C8B-B14F-4D97-AF65-F5344CB8AC3E}">
        <p14:creationId xmlns:p14="http://schemas.microsoft.com/office/powerpoint/2010/main" val="4007040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ore</a:t>
            </a:r>
            <a:br>
              <a:rPr lang="en-US" dirty="0"/>
            </a:br>
            <a:r>
              <a:rPr lang="en-US" dirty="0"/>
              <a:t>inclusiv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7089" y="304214"/>
            <a:ext cx="4839286" cy="4839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575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Rectangle 176"/>
          <p:cNvSpPr/>
          <p:nvPr/>
        </p:nvSpPr>
        <p:spPr>
          <a:xfrm>
            <a:off x="215994" y="4518909"/>
            <a:ext cx="850016" cy="5757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8" name="Rectangle 177"/>
          <p:cNvSpPr/>
          <p:nvPr/>
        </p:nvSpPr>
        <p:spPr>
          <a:xfrm>
            <a:off x="6314618" y="4414020"/>
            <a:ext cx="2519741" cy="5757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napshot of EU funding body policies</a:t>
            </a:r>
          </a:p>
        </p:txBody>
      </p:sp>
      <p:grpSp>
        <p:nvGrpSpPr>
          <p:cNvPr id="52" name="Group 132"/>
          <p:cNvGrpSpPr>
            <a:grpSpLocks/>
          </p:cNvGrpSpPr>
          <p:nvPr/>
        </p:nvGrpSpPr>
        <p:grpSpPr bwMode="auto">
          <a:xfrm>
            <a:off x="5264960" y="581895"/>
            <a:ext cx="3753330" cy="4529684"/>
            <a:chOff x="1730" y="-8"/>
            <a:chExt cx="4078" cy="4280"/>
          </a:xfrm>
          <a:solidFill>
            <a:schemeClr val="bg2"/>
          </a:solidFill>
        </p:grpSpPr>
        <p:sp>
          <p:nvSpPr>
            <p:cNvPr id="53" name="Freeform 5"/>
            <p:cNvSpPr>
              <a:spLocks/>
            </p:cNvSpPr>
            <p:nvPr/>
          </p:nvSpPr>
          <p:spPr bwMode="auto">
            <a:xfrm>
              <a:off x="1890" y="3232"/>
              <a:ext cx="1205" cy="952"/>
            </a:xfrm>
            <a:custGeom>
              <a:avLst/>
              <a:gdLst>
                <a:gd name="T0" fmla="*/ 1154 w 1205"/>
                <a:gd name="T1" fmla="*/ 336 h 952"/>
                <a:gd name="T2" fmla="*/ 1036 w 1205"/>
                <a:gd name="T3" fmla="*/ 296 h 952"/>
                <a:gd name="T4" fmla="*/ 910 w 1205"/>
                <a:gd name="T5" fmla="*/ 280 h 952"/>
                <a:gd name="T6" fmla="*/ 859 w 1205"/>
                <a:gd name="T7" fmla="*/ 232 h 952"/>
                <a:gd name="T8" fmla="*/ 784 w 1205"/>
                <a:gd name="T9" fmla="*/ 192 h 952"/>
                <a:gd name="T10" fmla="*/ 716 w 1205"/>
                <a:gd name="T11" fmla="*/ 144 h 952"/>
                <a:gd name="T12" fmla="*/ 666 w 1205"/>
                <a:gd name="T13" fmla="*/ 136 h 952"/>
                <a:gd name="T14" fmla="*/ 598 w 1205"/>
                <a:gd name="T15" fmla="*/ 128 h 952"/>
                <a:gd name="T16" fmla="*/ 522 w 1205"/>
                <a:gd name="T17" fmla="*/ 104 h 952"/>
                <a:gd name="T18" fmla="*/ 387 w 1205"/>
                <a:gd name="T19" fmla="*/ 64 h 952"/>
                <a:gd name="T20" fmla="*/ 320 w 1205"/>
                <a:gd name="T21" fmla="*/ 48 h 952"/>
                <a:gd name="T22" fmla="*/ 202 w 1205"/>
                <a:gd name="T23" fmla="*/ 16 h 952"/>
                <a:gd name="T24" fmla="*/ 168 w 1205"/>
                <a:gd name="T25" fmla="*/ 0 h 952"/>
                <a:gd name="T26" fmla="*/ 135 w 1205"/>
                <a:gd name="T27" fmla="*/ 8 h 952"/>
                <a:gd name="T28" fmla="*/ 109 w 1205"/>
                <a:gd name="T29" fmla="*/ 24 h 952"/>
                <a:gd name="T30" fmla="*/ 17 w 1205"/>
                <a:gd name="T31" fmla="*/ 48 h 952"/>
                <a:gd name="T32" fmla="*/ 25 w 1205"/>
                <a:gd name="T33" fmla="*/ 88 h 952"/>
                <a:gd name="T34" fmla="*/ 34 w 1205"/>
                <a:gd name="T35" fmla="*/ 128 h 952"/>
                <a:gd name="T36" fmla="*/ 67 w 1205"/>
                <a:gd name="T37" fmla="*/ 176 h 952"/>
                <a:gd name="T38" fmla="*/ 84 w 1205"/>
                <a:gd name="T39" fmla="*/ 200 h 952"/>
                <a:gd name="T40" fmla="*/ 93 w 1205"/>
                <a:gd name="T41" fmla="*/ 216 h 952"/>
                <a:gd name="T42" fmla="*/ 143 w 1205"/>
                <a:gd name="T43" fmla="*/ 232 h 952"/>
                <a:gd name="T44" fmla="*/ 194 w 1205"/>
                <a:gd name="T45" fmla="*/ 224 h 952"/>
                <a:gd name="T46" fmla="*/ 236 w 1205"/>
                <a:gd name="T47" fmla="*/ 256 h 952"/>
                <a:gd name="T48" fmla="*/ 253 w 1205"/>
                <a:gd name="T49" fmla="*/ 272 h 952"/>
                <a:gd name="T50" fmla="*/ 261 w 1205"/>
                <a:gd name="T51" fmla="*/ 296 h 952"/>
                <a:gd name="T52" fmla="*/ 202 w 1205"/>
                <a:gd name="T53" fmla="*/ 328 h 952"/>
                <a:gd name="T54" fmla="*/ 177 w 1205"/>
                <a:gd name="T55" fmla="*/ 368 h 952"/>
                <a:gd name="T56" fmla="*/ 160 w 1205"/>
                <a:gd name="T57" fmla="*/ 424 h 952"/>
                <a:gd name="T58" fmla="*/ 143 w 1205"/>
                <a:gd name="T59" fmla="*/ 432 h 952"/>
                <a:gd name="T60" fmla="*/ 126 w 1205"/>
                <a:gd name="T61" fmla="*/ 480 h 952"/>
                <a:gd name="T62" fmla="*/ 76 w 1205"/>
                <a:gd name="T63" fmla="*/ 488 h 952"/>
                <a:gd name="T64" fmla="*/ 109 w 1205"/>
                <a:gd name="T65" fmla="*/ 568 h 952"/>
                <a:gd name="T66" fmla="*/ 101 w 1205"/>
                <a:gd name="T67" fmla="*/ 584 h 952"/>
                <a:gd name="T68" fmla="*/ 67 w 1205"/>
                <a:gd name="T69" fmla="*/ 608 h 952"/>
                <a:gd name="T70" fmla="*/ 67 w 1205"/>
                <a:gd name="T71" fmla="*/ 656 h 952"/>
                <a:gd name="T72" fmla="*/ 84 w 1205"/>
                <a:gd name="T73" fmla="*/ 672 h 952"/>
                <a:gd name="T74" fmla="*/ 17 w 1205"/>
                <a:gd name="T75" fmla="*/ 720 h 952"/>
                <a:gd name="T76" fmla="*/ 0 w 1205"/>
                <a:gd name="T77" fmla="*/ 784 h 952"/>
                <a:gd name="T78" fmla="*/ 59 w 1205"/>
                <a:gd name="T79" fmla="*/ 792 h 952"/>
                <a:gd name="T80" fmla="*/ 109 w 1205"/>
                <a:gd name="T81" fmla="*/ 840 h 952"/>
                <a:gd name="T82" fmla="*/ 118 w 1205"/>
                <a:gd name="T83" fmla="*/ 920 h 952"/>
                <a:gd name="T84" fmla="*/ 219 w 1205"/>
                <a:gd name="T85" fmla="*/ 928 h 952"/>
                <a:gd name="T86" fmla="*/ 295 w 1205"/>
                <a:gd name="T87" fmla="*/ 912 h 952"/>
                <a:gd name="T88" fmla="*/ 379 w 1205"/>
                <a:gd name="T89" fmla="*/ 904 h 952"/>
                <a:gd name="T90" fmla="*/ 539 w 1205"/>
                <a:gd name="T91" fmla="*/ 928 h 952"/>
                <a:gd name="T92" fmla="*/ 598 w 1205"/>
                <a:gd name="T93" fmla="*/ 904 h 952"/>
                <a:gd name="T94" fmla="*/ 649 w 1205"/>
                <a:gd name="T95" fmla="*/ 856 h 952"/>
                <a:gd name="T96" fmla="*/ 725 w 1205"/>
                <a:gd name="T97" fmla="*/ 824 h 952"/>
                <a:gd name="T98" fmla="*/ 784 w 1205"/>
                <a:gd name="T99" fmla="*/ 752 h 952"/>
                <a:gd name="T100" fmla="*/ 809 w 1205"/>
                <a:gd name="T101" fmla="*/ 664 h 952"/>
                <a:gd name="T102" fmla="*/ 842 w 1205"/>
                <a:gd name="T103" fmla="*/ 592 h 952"/>
                <a:gd name="T104" fmla="*/ 927 w 1205"/>
                <a:gd name="T105" fmla="*/ 504 h 952"/>
                <a:gd name="T106" fmla="*/ 944 w 1205"/>
                <a:gd name="T107" fmla="*/ 472 h 952"/>
                <a:gd name="T108" fmla="*/ 1019 w 1205"/>
                <a:gd name="T109" fmla="*/ 440 h 952"/>
                <a:gd name="T110" fmla="*/ 1196 w 1205"/>
                <a:gd name="T111" fmla="*/ 376 h 952"/>
                <a:gd name="T112" fmla="*/ 1205 w 1205"/>
                <a:gd name="T113" fmla="*/ 368 h 952"/>
                <a:gd name="T114" fmla="*/ 1180 w 1205"/>
                <a:gd name="T115" fmla="*/ 352 h 95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205" h="952">
                  <a:moveTo>
                    <a:pt x="1180" y="352"/>
                  </a:moveTo>
                  <a:lnTo>
                    <a:pt x="1154" y="336"/>
                  </a:lnTo>
                  <a:lnTo>
                    <a:pt x="1095" y="320"/>
                  </a:lnTo>
                  <a:lnTo>
                    <a:pt x="1036" y="296"/>
                  </a:lnTo>
                  <a:lnTo>
                    <a:pt x="969" y="288"/>
                  </a:lnTo>
                  <a:lnTo>
                    <a:pt x="910" y="280"/>
                  </a:lnTo>
                  <a:lnTo>
                    <a:pt x="893" y="256"/>
                  </a:lnTo>
                  <a:lnTo>
                    <a:pt x="859" y="232"/>
                  </a:lnTo>
                  <a:lnTo>
                    <a:pt x="817" y="224"/>
                  </a:lnTo>
                  <a:lnTo>
                    <a:pt x="784" y="192"/>
                  </a:lnTo>
                  <a:lnTo>
                    <a:pt x="733" y="152"/>
                  </a:lnTo>
                  <a:lnTo>
                    <a:pt x="716" y="144"/>
                  </a:lnTo>
                  <a:lnTo>
                    <a:pt x="699" y="144"/>
                  </a:lnTo>
                  <a:lnTo>
                    <a:pt x="666" y="136"/>
                  </a:lnTo>
                  <a:lnTo>
                    <a:pt x="632" y="120"/>
                  </a:lnTo>
                  <a:lnTo>
                    <a:pt x="598" y="128"/>
                  </a:lnTo>
                  <a:lnTo>
                    <a:pt x="556" y="104"/>
                  </a:lnTo>
                  <a:lnTo>
                    <a:pt x="522" y="104"/>
                  </a:lnTo>
                  <a:lnTo>
                    <a:pt x="480" y="96"/>
                  </a:lnTo>
                  <a:lnTo>
                    <a:pt x="387" y="64"/>
                  </a:lnTo>
                  <a:lnTo>
                    <a:pt x="362" y="48"/>
                  </a:lnTo>
                  <a:lnTo>
                    <a:pt x="320" y="48"/>
                  </a:lnTo>
                  <a:lnTo>
                    <a:pt x="227" y="32"/>
                  </a:lnTo>
                  <a:lnTo>
                    <a:pt x="202" y="16"/>
                  </a:lnTo>
                  <a:lnTo>
                    <a:pt x="185" y="0"/>
                  </a:lnTo>
                  <a:lnTo>
                    <a:pt x="168" y="0"/>
                  </a:lnTo>
                  <a:lnTo>
                    <a:pt x="143" y="0"/>
                  </a:lnTo>
                  <a:lnTo>
                    <a:pt x="135" y="8"/>
                  </a:lnTo>
                  <a:lnTo>
                    <a:pt x="126" y="24"/>
                  </a:lnTo>
                  <a:lnTo>
                    <a:pt x="109" y="24"/>
                  </a:lnTo>
                  <a:lnTo>
                    <a:pt x="59" y="32"/>
                  </a:lnTo>
                  <a:lnTo>
                    <a:pt x="17" y="48"/>
                  </a:lnTo>
                  <a:lnTo>
                    <a:pt x="25" y="80"/>
                  </a:lnTo>
                  <a:lnTo>
                    <a:pt x="25" y="88"/>
                  </a:lnTo>
                  <a:lnTo>
                    <a:pt x="25" y="104"/>
                  </a:lnTo>
                  <a:lnTo>
                    <a:pt x="34" y="128"/>
                  </a:lnTo>
                  <a:lnTo>
                    <a:pt x="17" y="184"/>
                  </a:lnTo>
                  <a:lnTo>
                    <a:pt x="67" y="176"/>
                  </a:lnTo>
                  <a:lnTo>
                    <a:pt x="84" y="184"/>
                  </a:lnTo>
                  <a:lnTo>
                    <a:pt x="84" y="200"/>
                  </a:lnTo>
                  <a:lnTo>
                    <a:pt x="76" y="208"/>
                  </a:lnTo>
                  <a:lnTo>
                    <a:pt x="93" y="216"/>
                  </a:lnTo>
                  <a:lnTo>
                    <a:pt x="126" y="216"/>
                  </a:lnTo>
                  <a:lnTo>
                    <a:pt x="143" y="232"/>
                  </a:lnTo>
                  <a:lnTo>
                    <a:pt x="168" y="232"/>
                  </a:lnTo>
                  <a:lnTo>
                    <a:pt x="194" y="224"/>
                  </a:lnTo>
                  <a:lnTo>
                    <a:pt x="227" y="240"/>
                  </a:lnTo>
                  <a:lnTo>
                    <a:pt x="236" y="256"/>
                  </a:lnTo>
                  <a:lnTo>
                    <a:pt x="236" y="264"/>
                  </a:lnTo>
                  <a:lnTo>
                    <a:pt x="253" y="272"/>
                  </a:lnTo>
                  <a:lnTo>
                    <a:pt x="261" y="288"/>
                  </a:lnTo>
                  <a:lnTo>
                    <a:pt x="261" y="296"/>
                  </a:lnTo>
                  <a:lnTo>
                    <a:pt x="227" y="312"/>
                  </a:lnTo>
                  <a:lnTo>
                    <a:pt x="202" y="328"/>
                  </a:lnTo>
                  <a:lnTo>
                    <a:pt x="168" y="344"/>
                  </a:lnTo>
                  <a:lnTo>
                    <a:pt x="177" y="368"/>
                  </a:lnTo>
                  <a:lnTo>
                    <a:pt x="160" y="400"/>
                  </a:lnTo>
                  <a:lnTo>
                    <a:pt x="160" y="424"/>
                  </a:lnTo>
                  <a:lnTo>
                    <a:pt x="152" y="432"/>
                  </a:lnTo>
                  <a:lnTo>
                    <a:pt x="143" y="432"/>
                  </a:lnTo>
                  <a:lnTo>
                    <a:pt x="143" y="464"/>
                  </a:lnTo>
                  <a:lnTo>
                    <a:pt x="126" y="480"/>
                  </a:lnTo>
                  <a:lnTo>
                    <a:pt x="101" y="488"/>
                  </a:lnTo>
                  <a:lnTo>
                    <a:pt x="76" y="488"/>
                  </a:lnTo>
                  <a:lnTo>
                    <a:pt x="93" y="552"/>
                  </a:lnTo>
                  <a:lnTo>
                    <a:pt x="109" y="568"/>
                  </a:lnTo>
                  <a:lnTo>
                    <a:pt x="109" y="576"/>
                  </a:lnTo>
                  <a:lnTo>
                    <a:pt x="101" y="584"/>
                  </a:lnTo>
                  <a:lnTo>
                    <a:pt x="76" y="592"/>
                  </a:lnTo>
                  <a:lnTo>
                    <a:pt x="67" y="608"/>
                  </a:lnTo>
                  <a:lnTo>
                    <a:pt x="59" y="632"/>
                  </a:lnTo>
                  <a:lnTo>
                    <a:pt x="67" y="656"/>
                  </a:lnTo>
                  <a:lnTo>
                    <a:pt x="76" y="672"/>
                  </a:lnTo>
                  <a:lnTo>
                    <a:pt x="84" y="672"/>
                  </a:lnTo>
                  <a:lnTo>
                    <a:pt x="59" y="696"/>
                  </a:lnTo>
                  <a:lnTo>
                    <a:pt x="17" y="720"/>
                  </a:lnTo>
                  <a:lnTo>
                    <a:pt x="8" y="752"/>
                  </a:lnTo>
                  <a:lnTo>
                    <a:pt x="0" y="784"/>
                  </a:lnTo>
                  <a:lnTo>
                    <a:pt x="17" y="784"/>
                  </a:lnTo>
                  <a:lnTo>
                    <a:pt x="59" y="792"/>
                  </a:lnTo>
                  <a:lnTo>
                    <a:pt x="93" y="816"/>
                  </a:lnTo>
                  <a:lnTo>
                    <a:pt x="109" y="840"/>
                  </a:lnTo>
                  <a:lnTo>
                    <a:pt x="109" y="880"/>
                  </a:lnTo>
                  <a:lnTo>
                    <a:pt x="118" y="920"/>
                  </a:lnTo>
                  <a:lnTo>
                    <a:pt x="152" y="952"/>
                  </a:lnTo>
                  <a:lnTo>
                    <a:pt x="219" y="928"/>
                  </a:lnTo>
                  <a:lnTo>
                    <a:pt x="253" y="920"/>
                  </a:lnTo>
                  <a:lnTo>
                    <a:pt x="295" y="912"/>
                  </a:lnTo>
                  <a:lnTo>
                    <a:pt x="337" y="896"/>
                  </a:lnTo>
                  <a:lnTo>
                    <a:pt x="379" y="904"/>
                  </a:lnTo>
                  <a:lnTo>
                    <a:pt x="463" y="920"/>
                  </a:lnTo>
                  <a:lnTo>
                    <a:pt x="539" y="928"/>
                  </a:lnTo>
                  <a:lnTo>
                    <a:pt x="573" y="928"/>
                  </a:lnTo>
                  <a:lnTo>
                    <a:pt x="598" y="904"/>
                  </a:lnTo>
                  <a:lnTo>
                    <a:pt x="615" y="872"/>
                  </a:lnTo>
                  <a:lnTo>
                    <a:pt x="649" y="856"/>
                  </a:lnTo>
                  <a:lnTo>
                    <a:pt x="733" y="848"/>
                  </a:lnTo>
                  <a:lnTo>
                    <a:pt x="725" y="824"/>
                  </a:lnTo>
                  <a:lnTo>
                    <a:pt x="733" y="800"/>
                  </a:lnTo>
                  <a:lnTo>
                    <a:pt x="784" y="752"/>
                  </a:lnTo>
                  <a:lnTo>
                    <a:pt x="842" y="720"/>
                  </a:lnTo>
                  <a:lnTo>
                    <a:pt x="809" y="664"/>
                  </a:lnTo>
                  <a:lnTo>
                    <a:pt x="809" y="624"/>
                  </a:lnTo>
                  <a:lnTo>
                    <a:pt x="842" y="592"/>
                  </a:lnTo>
                  <a:lnTo>
                    <a:pt x="885" y="536"/>
                  </a:lnTo>
                  <a:lnTo>
                    <a:pt x="927" y="504"/>
                  </a:lnTo>
                  <a:lnTo>
                    <a:pt x="935" y="504"/>
                  </a:lnTo>
                  <a:lnTo>
                    <a:pt x="944" y="472"/>
                  </a:lnTo>
                  <a:lnTo>
                    <a:pt x="977" y="448"/>
                  </a:lnTo>
                  <a:lnTo>
                    <a:pt x="1019" y="440"/>
                  </a:lnTo>
                  <a:lnTo>
                    <a:pt x="1095" y="432"/>
                  </a:lnTo>
                  <a:lnTo>
                    <a:pt x="1196" y="376"/>
                  </a:lnTo>
                  <a:lnTo>
                    <a:pt x="1205" y="376"/>
                  </a:lnTo>
                  <a:lnTo>
                    <a:pt x="1205" y="368"/>
                  </a:lnTo>
                  <a:lnTo>
                    <a:pt x="1205" y="344"/>
                  </a:lnTo>
                  <a:lnTo>
                    <a:pt x="1180" y="3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54" name="Freeform 6"/>
            <p:cNvSpPr>
              <a:spLocks/>
            </p:cNvSpPr>
            <p:nvPr/>
          </p:nvSpPr>
          <p:spPr bwMode="auto">
            <a:xfrm>
              <a:off x="1730" y="3408"/>
              <a:ext cx="421" cy="616"/>
            </a:xfrm>
            <a:custGeom>
              <a:avLst/>
              <a:gdLst>
                <a:gd name="T0" fmla="*/ 396 w 421"/>
                <a:gd name="T1" fmla="*/ 88 h 616"/>
                <a:gd name="T2" fmla="*/ 387 w 421"/>
                <a:gd name="T3" fmla="*/ 64 h 616"/>
                <a:gd name="T4" fmla="*/ 328 w 421"/>
                <a:gd name="T5" fmla="*/ 56 h 616"/>
                <a:gd name="T6" fmla="*/ 286 w 421"/>
                <a:gd name="T7" fmla="*/ 40 h 616"/>
                <a:gd name="T8" fmla="*/ 236 w 421"/>
                <a:gd name="T9" fmla="*/ 32 h 616"/>
                <a:gd name="T10" fmla="*/ 244 w 421"/>
                <a:gd name="T11" fmla="*/ 8 h 616"/>
                <a:gd name="T12" fmla="*/ 177 w 421"/>
                <a:gd name="T13" fmla="*/ 8 h 616"/>
                <a:gd name="T14" fmla="*/ 160 w 421"/>
                <a:gd name="T15" fmla="*/ 112 h 616"/>
                <a:gd name="T16" fmla="*/ 126 w 421"/>
                <a:gd name="T17" fmla="*/ 208 h 616"/>
                <a:gd name="T18" fmla="*/ 42 w 421"/>
                <a:gd name="T19" fmla="*/ 304 h 616"/>
                <a:gd name="T20" fmla="*/ 8 w 421"/>
                <a:gd name="T21" fmla="*/ 368 h 616"/>
                <a:gd name="T22" fmla="*/ 34 w 421"/>
                <a:gd name="T23" fmla="*/ 384 h 616"/>
                <a:gd name="T24" fmla="*/ 25 w 421"/>
                <a:gd name="T25" fmla="*/ 408 h 616"/>
                <a:gd name="T26" fmla="*/ 67 w 421"/>
                <a:gd name="T27" fmla="*/ 416 h 616"/>
                <a:gd name="T28" fmla="*/ 42 w 421"/>
                <a:gd name="T29" fmla="*/ 512 h 616"/>
                <a:gd name="T30" fmla="*/ 8 w 421"/>
                <a:gd name="T31" fmla="*/ 576 h 616"/>
                <a:gd name="T32" fmla="*/ 8 w 421"/>
                <a:gd name="T33" fmla="*/ 592 h 616"/>
                <a:gd name="T34" fmla="*/ 84 w 421"/>
                <a:gd name="T35" fmla="*/ 600 h 616"/>
                <a:gd name="T36" fmla="*/ 160 w 421"/>
                <a:gd name="T37" fmla="*/ 608 h 616"/>
                <a:gd name="T38" fmla="*/ 177 w 421"/>
                <a:gd name="T39" fmla="*/ 544 h 616"/>
                <a:gd name="T40" fmla="*/ 244 w 421"/>
                <a:gd name="T41" fmla="*/ 496 h 616"/>
                <a:gd name="T42" fmla="*/ 227 w 421"/>
                <a:gd name="T43" fmla="*/ 480 h 616"/>
                <a:gd name="T44" fmla="*/ 227 w 421"/>
                <a:gd name="T45" fmla="*/ 432 h 616"/>
                <a:gd name="T46" fmla="*/ 261 w 421"/>
                <a:gd name="T47" fmla="*/ 408 h 616"/>
                <a:gd name="T48" fmla="*/ 269 w 421"/>
                <a:gd name="T49" fmla="*/ 392 h 616"/>
                <a:gd name="T50" fmla="*/ 236 w 421"/>
                <a:gd name="T51" fmla="*/ 312 h 616"/>
                <a:gd name="T52" fmla="*/ 286 w 421"/>
                <a:gd name="T53" fmla="*/ 304 h 616"/>
                <a:gd name="T54" fmla="*/ 303 w 421"/>
                <a:gd name="T55" fmla="*/ 256 h 616"/>
                <a:gd name="T56" fmla="*/ 320 w 421"/>
                <a:gd name="T57" fmla="*/ 248 h 616"/>
                <a:gd name="T58" fmla="*/ 337 w 421"/>
                <a:gd name="T59" fmla="*/ 192 h 616"/>
                <a:gd name="T60" fmla="*/ 362 w 421"/>
                <a:gd name="T61" fmla="*/ 152 h 616"/>
                <a:gd name="T62" fmla="*/ 421 w 421"/>
                <a:gd name="T63" fmla="*/ 120 h 616"/>
                <a:gd name="T64" fmla="*/ 413 w 421"/>
                <a:gd name="T65" fmla="*/ 96 h 61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421" h="616">
                  <a:moveTo>
                    <a:pt x="413" y="96"/>
                  </a:moveTo>
                  <a:lnTo>
                    <a:pt x="396" y="88"/>
                  </a:lnTo>
                  <a:lnTo>
                    <a:pt x="396" y="80"/>
                  </a:lnTo>
                  <a:lnTo>
                    <a:pt x="387" y="64"/>
                  </a:lnTo>
                  <a:lnTo>
                    <a:pt x="354" y="48"/>
                  </a:lnTo>
                  <a:lnTo>
                    <a:pt x="328" y="56"/>
                  </a:lnTo>
                  <a:lnTo>
                    <a:pt x="303" y="56"/>
                  </a:lnTo>
                  <a:lnTo>
                    <a:pt x="286" y="40"/>
                  </a:lnTo>
                  <a:lnTo>
                    <a:pt x="253" y="40"/>
                  </a:lnTo>
                  <a:lnTo>
                    <a:pt x="236" y="32"/>
                  </a:lnTo>
                  <a:lnTo>
                    <a:pt x="244" y="24"/>
                  </a:lnTo>
                  <a:lnTo>
                    <a:pt x="244" y="8"/>
                  </a:lnTo>
                  <a:lnTo>
                    <a:pt x="227" y="0"/>
                  </a:lnTo>
                  <a:lnTo>
                    <a:pt x="177" y="8"/>
                  </a:lnTo>
                  <a:lnTo>
                    <a:pt x="177" y="40"/>
                  </a:lnTo>
                  <a:lnTo>
                    <a:pt x="160" y="112"/>
                  </a:lnTo>
                  <a:lnTo>
                    <a:pt x="143" y="144"/>
                  </a:lnTo>
                  <a:lnTo>
                    <a:pt x="126" y="208"/>
                  </a:lnTo>
                  <a:lnTo>
                    <a:pt x="92" y="256"/>
                  </a:lnTo>
                  <a:lnTo>
                    <a:pt x="42" y="304"/>
                  </a:lnTo>
                  <a:lnTo>
                    <a:pt x="17" y="352"/>
                  </a:lnTo>
                  <a:lnTo>
                    <a:pt x="8" y="368"/>
                  </a:lnTo>
                  <a:lnTo>
                    <a:pt x="17" y="376"/>
                  </a:lnTo>
                  <a:lnTo>
                    <a:pt x="34" y="384"/>
                  </a:lnTo>
                  <a:lnTo>
                    <a:pt x="25" y="400"/>
                  </a:lnTo>
                  <a:lnTo>
                    <a:pt x="25" y="408"/>
                  </a:lnTo>
                  <a:lnTo>
                    <a:pt x="34" y="416"/>
                  </a:lnTo>
                  <a:lnTo>
                    <a:pt x="67" y="416"/>
                  </a:lnTo>
                  <a:lnTo>
                    <a:pt x="42" y="480"/>
                  </a:lnTo>
                  <a:lnTo>
                    <a:pt x="42" y="512"/>
                  </a:lnTo>
                  <a:lnTo>
                    <a:pt x="25" y="544"/>
                  </a:lnTo>
                  <a:lnTo>
                    <a:pt x="8" y="576"/>
                  </a:lnTo>
                  <a:lnTo>
                    <a:pt x="0" y="592"/>
                  </a:lnTo>
                  <a:lnTo>
                    <a:pt x="8" y="592"/>
                  </a:lnTo>
                  <a:lnTo>
                    <a:pt x="50" y="592"/>
                  </a:lnTo>
                  <a:lnTo>
                    <a:pt x="84" y="600"/>
                  </a:lnTo>
                  <a:lnTo>
                    <a:pt x="126" y="616"/>
                  </a:lnTo>
                  <a:lnTo>
                    <a:pt x="160" y="608"/>
                  </a:lnTo>
                  <a:lnTo>
                    <a:pt x="168" y="576"/>
                  </a:lnTo>
                  <a:lnTo>
                    <a:pt x="177" y="544"/>
                  </a:lnTo>
                  <a:lnTo>
                    <a:pt x="219" y="520"/>
                  </a:lnTo>
                  <a:lnTo>
                    <a:pt x="244" y="496"/>
                  </a:lnTo>
                  <a:lnTo>
                    <a:pt x="236" y="496"/>
                  </a:lnTo>
                  <a:lnTo>
                    <a:pt x="227" y="480"/>
                  </a:lnTo>
                  <a:lnTo>
                    <a:pt x="219" y="456"/>
                  </a:lnTo>
                  <a:lnTo>
                    <a:pt x="227" y="432"/>
                  </a:lnTo>
                  <a:lnTo>
                    <a:pt x="236" y="416"/>
                  </a:lnTo>
                  <a:lnTo>
                    <a:pt x="261" y="408"/>
                  </a:lnTo>
                  <a:lnTo>
                    <a:pt x="269" y="400"/>
                  </a:lnTo>
                  <a:lnTo>
                    <a:pt x="269" y="392"/>
                  </a:lnTo>
                  <a:lnTo>
                    <a:pt x="253" y="376"/>
                  </a:lnTo>
                  <a:lnTo>
                    <a:pt x="236" y="312"/>
                  </a:lnTo>
                  <a:lnTo>
                    <a:pt x="261" y="312"/>
                  </a:lnTo>
                  <a:lnTo>
                    <a:pt x="286" y="304"/>
                  </a:lnTo>
                  <a:lnTo>
                    <a:pt x="303" y="288"/>
                  </a:lnTo>
                  <a:lnTo>
                    <a:pt x="303" y="256"/>
                  </a:lnTo>
                  <a:lnTo>
                    <a:pt x="312" y="256"/>
                  </a:lnTo>
                  <a:lnTo>
                    <a:pt x="320" y="248"/>
                  </a:lnTo>
                  <a:lnTo>
                    <a:pt x="320" y="224"/>
                  </a:lnTo>
                  <a:lnTo>
                    <a:pt x="337" y="192"/>
                  </a:lnTo>
                  <a:lnTo>
                    <a:pt x="328" y="168"/>
                  </a:lnTo>
                  <a:lnTo>
                    <a:pt x="362" y="152"/>
                  </a:lnTo>
                  <a:lnTo>
                    <a:pt x="387" y="136"/>
                  </a:lnTo>
                  <a:lnTo>
                    <a:pt x="421" y="120"/>
                  </a:lnTo>
                  <a:lnTo>
                    <a:pt x="421" y="112"/>
                  </a:lnTo>
                  <a:lnTo>
                    <a:pt x="413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55" name="Freeform 7"/>
            <p:cNvSpPr>
              <a:spLocks/>
            </p:cNvSpPr>
            <p:nvPr/>
          </p:nvSpPr>
          <p:spPr bwMode="auto">
            <a:xfrm>
              <a:off x="1890" y="3232"/>
              <a:ext cx="1205" cy="952"/>
            </a:xfrm>
            <a:custGeom>
              <a:avLst/>
              <a:gdLst>
                <a:gd name="T0" fmla="*/ 1154 w 1205"/>
                <a:gd name="T1" fmla="*/ 336 h 952"/>
                <a:gd name="T2" fmla="*/ 1036 w 1205"/>
                <a:gd name="T3" fmla="*/ 296 h 952"/>
                <a:gd name="T4" fmla="*/ 910 w 1205"/>
                <a:gd name="T5" fmla="*/ 280 h 952"/>
                <a:gd name="T6" fmla="*/ 859 w 1205"/>
                <a:gd name="T7" fmla="*/ 232 h 952"/>
                <a:gd name="T8" fmla="*/ 784 w 1205"/>
                <a:gd name="T9" fmla="*/ 192 h 952"/>
                <a:gd name="T10" fmla="*/ 716 w 1205"/>
                <a:gd name="T11" fmla="*/ 144 h 952"/>
                <a:gd name="T12" fmla="*/ 666 w 1205"/>
                <a:gd name="T13" fmla="*/ 136 h 952"/>
                <a:gd name="T14" fmla="*/ 598 w 1205"/>
                <a:gd name="T15" fmla="*/ 128 h 952"/>
                <a:gd name="T16" fmla="*/ 522 w 1205"/>
                <a:gd name="T17" fmla="*/ 104 h 952"/>
                <a:gd name="T18" fmla="*/ 387 w 1205"/>
                <a:gd name="T19" fmla="*/ 64 h 952"/>
                <a:gd name="T20" fmla="*/ 320 w 1205"/>
                <a:gd name="T21" fmla="*/ 48 h 952"/>
                <a:gd name="T22" fmla="*/ 202 w 1205"/>
                <a:gd name="T23" fmla="*/ 16 h 952"/>
                <a:gd name="T24" fmla="*/ 168 w 1205"/>
                <a:gd name="T25" fmla="*/ 0 h 952"/>
                <a:gd name="T26" fmla="*/ 135 w 1205"/>
                <a:gd name="T27" fmla="*/ 8 h 952"/>
                <a:gd name="T28" fmla="*/ 109 w 1205"/>
                <a:gd name="T29" fmla="*/ 24 h 952"/>
                <a:gd name="T30" fmla="*/ 17 w 1205"/>
                <a:gd name="T31" fmla="*/ 48 h 952"/>
                <a:gd name="T32" fmla="*/ 25 w 1205"/>
                <a:gd name="T33" fmla="*/ 88 h 952"/>
                <a:gd name="T34" fmla="*/ 34 w 1205"/>
                <a:gd name="T35" fmla="*/ 128 h 952"/>
                <a:gd name="T36" fmla="*/ 67 w 1205"/>
                <a:gd name="T37" fmla="*/ 176 h 952"/>
                <a:gd name="T38" fmla="*/ 84 w 1205"/>
                <a:gd name="T39" fmla="*/ 200 h 952"/>
                <a:gd name="T40" fmla="*/ 93 w 1205"/>
                <a:gd name="T41" fmla="*/ 216 h 952"/>
                <a:gd name="T42" fmla="*/ 143 w 1205"/>
                <a:gd name="T43" fmla="*/ 232 h 952"/>
                <a:gd name="T44" fmla="*/ 194 w 1205"/>
                <a:gd name="T45" fmla="*/ 224 h 952"/>
                <a:gd name="T46" fmla="*/ 236 w 1205"/>
                <a:gd name="T47" fmla="*/ 256 h 952"/>
                <a:gd name="T48" fmla="*/ 253 w 1205"/>
                <a:gd name="T49" fmla="*/ 272 h 952"/>
                <a:gd name="T50" fmla="*/ 261 w 1205"/>
                <a:gd name="T51" fmla="*/ 296 h 952"/>
                <a:gd name="T52" fmla="*/ 202 w 1205"/>
                <a:gd name="T53" fmla="*/ 328 h 952"/>
                <a:gd name="T54" fmla="*/ 177 w 1205"/>
                <a:gd name="T55" fmla="*/ 368 h 952"/>
                <a:gd name="T56" fmla="*/ 160 w 1205"/>
                <a:gd name="T57" fmla="*/ 424 h 952"/>
                <a:gd name="T58" fmla="*/ 143 w 1205"/>
                <a:gd name="T59" fmla="*/ 432 h 952"/>
                <a:gd name="T60" fmla="*/ 126 w 1205"/>
                <a:gd name="T61" fmla="*/ 480 h 952"/>
                <a:gd name="T62" fmla="*/ 76 w 1205"/>
                <a:gd name="T63" fmla="*/ 488 h 952"/>
                <a:gd name="T64" fmla="*/ 109 w 1205"/>
                <a:gd name="T65" fmla="*/ 568 h 952"/>
                <a:gd name="T66" fmla="*/ 101 w 1205"/>
                <a:gd name="T67" fmla="*/ 584 h 952"/>
                <a:gd name="T68" fmla="*/ 67 w 1205"/>
                <a:gd name="T69" fmla="*/ 608 h 952"/>
                <a:gd name="T70" fmla="*/ 67 w 1205"/>
                <a:gd name="T71" fmla="*/ 656 h 952"/>
                <a:gd name="T72" fmla="*/ 84 w 1205"/>
                <a:gd name="T73" fmla="*/ 672 h 952"/>
                <a:gd name="T74" fmla="*/ 17 w 1205"/>
                <a:gd name="T75" fmla="*/ 720 h 952"/>
                <a:gd name="T76" fmla="*/ 0 w 1205"/>
                <a:gd name="T77" fmla="*/ 784 h 952"/>
                <a:gd name="T78" fmla="*/ 59 w 1205"/>
                <a:gd name="T79" fmla="*/ 792 h 952"/>
                <a:gd name="T80" fmla="*/ 109 w 1205"/>
                <a:gd name="T81" fmla="*/ 840 h 952"/>
                <a:gd name="T82" fmla="*/ 118 w 1205"/>
                <a:gd name="T83" fmla="*/ 920 h 952"/>
                <a:gd name="T84" fmla="*/ 219 w 1205"/>
                <a:gd name="T85" fmla="*/ 928 h 952"/>
                <a:gd name="T86" fmla="*/ 295 w 1205"/>
                <a:gd name="T87" fmla="*/ 912 h 952"/>
                <a:gd name="T88" fmla="*/ 379 w 1205"/>
                <a:gd name="T89" fmla="*/ 904 h 952"/>
                <a:gd name="T90" fmla="*/ 539 w 1205"/>
                <a:gd name="T91" fmla="*/ 928 h 952"/>
                <a:gd name="T92" fmla="*/ 598 w 1205"/>
                <a:gd name="T93" fmla="*/ 904 h 952"/>
                <a:gd name="T94" fmla="*/ 649 w 1205"/>
                <a:gd name="T95" fmla="*/ 856 h 952"/>
                <a:gd name="T96" fmla="*/ 725 w 1205"/>
                <a:gd name="T97" fmla="*/ 824 h 952"/>
                <a:gd name="T98" fmla="*/ 784 w 1205"/>
                <a:gd name="T99" fmla="*/ 752 h 952"/>
                <a:gd name="T100" fmla="*/ 809 w 1205"/>
                <a:gd name="T101" fmla="*/ 664 h 952"/>
                <a:gd name="T102" fmla="*/ 842 w 1205"/>
                <a:gd name="T103" fmla="*/ 592 h 952"/>
                <a:gd name="T104" fmla="*/ 927 w 1205"/>
                <a:gd name="T105" fmla="*/ 504 h 952"/>
                <a:gd name="T106" fmla="*/ 944 w 1205"/>
                <a:gd name="T107" fmla="*/ 472 h 952"/>
                <a:gd name="T108" fmla="*/ 944 w 1205"/>
                <a:gd name="T109" fmla="*/ 472 h 952"/>
                <a:gd name="T110" fmla="*/ 1019 w 1205"/>
                <a:gd name="T111" fmla="*/ 440 h 952"/>
                <a:gd name="T112" fmla="*/ 1196 w 1205"/>
                <a:gd name="T113" fmla="*/ 376 h 952"/>
                <a:gd name="T114" fmla="*/ 1205 w 1205"/>
                <a:gd name="T115" fmla="*/ 368 h 952"/>
                <a:gd name="T116" fmla="*/ 1205 w 1205"/>
                <a:gd name="T117" fmla="*/ 344 h 95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205" h="952">
                  <a:moveTo>
                    <a:pt x="1180" y="352"/>
                  </a:moveTo>
                  <a:lnTo>
                    <a:pt x="1154" y="336"/>
                  </a:lnTo>
                  <a:lnTo>
                    <a:pt x="1095" y="320"/>
                  </a:lnTo>
                  <a:lnTo>
                    <a:pt x="1036" y="296"/>
                  </a:lnTo>
                  <a:lnTo>
                    <a:pt x="969" y="288"/>
                  </a:lnTo>
                  <a:lnTo>
                    <a:pt x="910" y="280"/>
                  </a:lnTo>
                  <a:lnTo>
                    <a:pt x="893" y="256"/>
                  </a:lnTo>
                  <a:lnTo>
                    <a:pt x="859" y="232"/>
                  </a:lnTo>
                  <a:lnTo>
                    <a:pt x="817" y="224"/>
                  </a:lnTo>
                  <a:lnTo>
                    <a:pt x="784" y="192"/>
                  </a:lnTo>
                  <a:lnTo>
                    <a:pt x="733" y="152"/>
                  </a:lnTo>
                  <a:lnTo>
                    <a:pt x="716" y="144"/>
                  </a:lnTo>
                  <a:lnTo>
                    <a:pt x="699" y="144"/>
                  </a:lnTo>
                  <a:lnTo>
                    <a:pt x="666" y="136"/>
                  </a:lnTo>
                  <a:lnTo>
                    <a:pt x="632" y="120"/>
                  </a:lnTo>
                  <a:lnTo>
                    <a:pt x="598" y="128"/>
                  </a:lnTo>
                  <a:lnTo>
                    <a:pt x="556" y="104"/>
                  </a:lnTo>
                  <a:lnTo>
                    <a:pt x="522" y="104"/>
                  </a:lnTo>
                  <a:lnTo>
                    <a:pt x="480" y="96"/>
                  </a:lnTo>
                  <a:lnTo>
                    <a:pt x="387" y="64"/>
                  </a:lnTo>
                  <a:lnTo>
                    <a:pt x="362" y="48"/>
                  </a:lnTo>
                  <a:lnTo>
                    <a:pt x="320" y="48"/>
                  </a:lnTo>
                  <a:lnTo>
                    <a:pt x="227" y="32"/>
                  </a:lnTo>
                  <a:lnTo>
                    <a:pt x="202" y="16"/>
                  </a:lnTo>
                  <a:lnTo>
                    <a:pt x="185" y="0"/>
                  </a:lnTo>
                  <a:lnTo>
                    <a:pt x="168" y="0"/>
                  </a:lnTo>
                  <a:lnTo>
                    <a:pt x="143" y="0"/>
                  </a:lnTo>
                  <a:lnTo>
                    <a:pt x="135" y="8"/>
                  </a:lnTo>
                  <a:lnTo>
                    <a:pt x="126" y="24"/>
                  </a:lnTo>
                  <a:lnTo>
                    <a:pt x="109" y="24"/>
                  </a:lnTo>
                  <a:lnTo>
                    <a:pt x="59" y="32"/>
                  </a:lnTo>
                  <a:lnTo>
                    <a:pt x="17" y="48"/>
                  </a:lnTo>
                  <a:lnTo>
                    <a:pt x="25" y="80"/>
                  </a:lnTo>
                  <a:lnTo>
                    <a:pt x="25" y="88"/>
                  </a:lnTo>
                  <a:lnTo>
                    <a:pt x="25" y="104"/>
                  </a:lnTo>
                  <a:lnTo>
                    <a:pt x="34" y="128"/>
                  </a:lnTo>
                  <a:lnTo>
                    <a:pt x="17" y="184"/>
                  </a:lnTo>
                  <a:lnTo>
                    <a:pt x="67" y="176"/>
                  </a:lnTo>
                  <a:lnTo>
                    <a:pt x="84" y="184"/>
                  </a:lnTo>
                  <a:lnTo>
                    <a:pt x="84" y="200"/>
                  </a:lnTo>
                  <a:lnTo>
                    <a:pt x="76" y="208"/>
                  </a:lnTo>
                  <a:lnTo>
                    <a:pt x="93" y="216"/>
                  </a:lnTo>
                  <a:lnTo>
                    <a:pt x="126" y="216"/>
                  </a:lnTo>
                  <a:lnTo>
                    <a:pt x="143" y="232"/>
                  </a:lnTo>
                  <a:lnTo>
                    <a:pt x="168" y="232"/>
                  </a:lnTo>
                  <a:lnTo>
                    <a:pt x="194" y="224"/>
                  </a:lnTo>
                  <a:lnTo>
                    <a:pt x="227" y="240"/>
                  </a:lnTo>
                  <a:lnTo>
                    <a:pt x="236" y="256"/>
                  </a:lnTo>
                  <a:lnTo>
                    <a:pt x="236" y="264"/>
                  </a:lnTo>
                  <a:lnTo>
                    <a:pt x="253" y="272"/>
                  </a:lnTo>
                  <a:lnTo>
                    <a:pt x="261" y="288"/>
                  </a:lnTo>
                  <a:lnTo>
                    <a:pt x="261" y="296"/>
                  </a:lnTo>
                  <a:lnTo>
                    <a:pt x="227" y="312"/>
                  </a:lnTo>
                  <a:lnTo>
                    <a:pt x="202" y="328"/>
                  </a:lnTo>
                  <a:lnTo>
                    <a:pt x="168" y="344"/>
                  </a:lnTo>
                  <a:lnTo>
                    <a:pt x="177" y="368"/>
                  </a:lnTo>
                  <a:lnTo>
                    <a:pt x="160" y="400"/>
                  </a:lnTo>
                  <a:lnTo>
                    <a:pt x="160" y="424"/>
                  </a:lnTo>
                  <a:lnTo>
                    <a:pt x="152" y="432"/>
                  </a:lnTo>
                  <a:lnTo>
                    <a:pt x="143" y="432"/>
                  </a:lnTo>
                  <a:lnTo>
                    <a:pt x="143" y="464"/>
                  </a:lnTo>
                  <a:lnTo>
                    <a:pt x="126" y="480"/>
                  </a:lnTo>
                  <a:lnTo>
                    <a:pt x="101" y="488"/>
                  </a:lnTo>
                  <a:lnTo>
                    <a:pt x="76" y="488"/>
                  </a:lnTo>
                  <a:lnTo>
                    <a:pt x="93" y="552"/>
                  </a:lnTo>
                  <a:lnTo>
                    <a:pt x="109" y="568"/>
                  </a:lnTo>
                  <a:lnTo>
                    <a:pt x="109" y="576"/>
                  </a:lnTo>
                  <a:lnTo>
                    <a:pt x="101" y="584"/>
                  </a:lnTo>
                  <a:lnTo>
                    <a:pt x="76" y="592"/>
                  </a:lnTo>
                  <a:lnTo>
                    <a:pt x="67" y="608"/>
                  </a:lnTo>
                  <a:lnTo>
                    <a:pt x="59" y="632"/>
                  </a:lnTo>
                  <a:lnTo>
                    <a:pt x="67" y="656"/>
                  </a:lnTo>
                  <a:lnTo>
                    <a:pt x="76" y="672"/>
                  </a:lnTo>
                  <a:lnTo>
                    <a:pt x="84" y="672"/>
                  </a:lnTo>
                  <a:lnTo>
                    <a:pt x="59" y="696"/>
                  </a:lnTo>
                  <a:lnTo>
                    <a:pt x="17" y="720"/>
                  </a:lnTo>
                  <a:lnTo>
                    <a:pt x="8" y="752"/>
                  </a:lnTo>
                  <a:lnTo>
                    <a:pt x="0" y="784"/>
                  </a:lnTo>
                  <a:lnTo>
                    <a:pt x="17" y="784"/>
                  </a:lnTo>
                  <a:lnTo>
                    <a:pt x="59" y="792"/>
                  </a:lnTo>
                  <a:lnTo>
                    <a:pt x="93" y="816"/>
                  </a:lnTo>
                  <a:lnTo>
                    <a:pt x="109" y="840"/>
                  </a:lnTo>
                  <a:lnTo>
                    <a:pt x="109" y="880"/>
                  </a:lnTo>
                  <a:lnTo>
                    <a:pt x="118" y="920"/>
                  </a:lnTo>
                  <a:lnTo>
                    <a:pt x="152" y="952"/>
                  </a:lnTo>
                  <a:lnTo>
                    <a:pt x="219" y="928"/>
                  </a:lnTo>
                  <a:lnTo>
                    <a:pt x="253" y="920"/>
                  </a:lnTo>
                  <a:lnTo>
                    <a:pt x="295" y="912"/>
                  </a:lnTo>
                  <a:lnTo>
                    <a:pt x="337" y="896"/>
                  </a:lnTo>
                  <a:lnTo>
                    <a:pt x="379" y="904"/>
                  </a:lnTo>
                  <a:lnTo>
                    <a:pt x="463" y="920"/>
                  </a:lnTo>
                  <a:lnTo>
                    <a:pt x="539" y="928"/>
                  </a:lnTo>
                  <a:lnTo>
                    <a:pt x="573" y="928"/>
                  </a:lnTo>
                  <a:lnTo>
                    <a:pt x="598" y="904"/>
                  </a:lnTo>
                  <a:lnTo>
                    <a:pt x="615" y="872"/>
                  </a:lnTo>
                  <a:lnTo>
                    <a:pt x="649" y="856"/>
                  </a:lnTo>
                  <a:lnTo>
                    <a:pt x="733" y="848"/>
                  </a:lnTo>
                  <a:lnTo>
                    <a:pt x="725" y="824"/>
                  </a:lnTo>
                  <a:lnTo>
                    <a:pt x="733" y="800"/>
                  </a:lnTo>
                  <a:lnTo>
                    <a:pt x="784" y="752"/>
                  </a:lnTo>
                  <a:lnTo>
                    <a:pt x="842" y="720"/>
                  </a:lnTo>
                  <a:lnTo>
                    <a:pt x="809" y="664"/>
                  </a:lnTo>
                  <a:lnTo>
                    <a:pt x="809" y="624"/>
                  </a:lnTo>
                  <a:lnTo>
                    <a:pt x="842" y="592"/>
                  </a:lnTo>
                  <a:lnTo>
                    <a:pt x="885" y="536"/>
                  </a:lnTo>
                  <a:lnTo>
                    <a:pt x="927" y="504"/>
                  </a:lnTo>
                  <a:lnTo>
                    <a:pt x="935" y="504"/>
                  </a:lnTo>
                  <a:lnTo>
                    <a:pt x="944" y="472"/>
                  </a:lnTo>
                  <a:lnTo>
                    <a:pt x="977" y="448"/>
                  </a:lnTo>
                  <a:lnTo>
                    <a:pt x="1019" y="440"/>
                  </a:lnTo>
                  <a:lnTo>
                    <a:pt x="1095" y="432"/>
                  </a:lnTo>
                  <a:lnTo>
                    <a:pt x="1196" y="376"/>
                  </a:lnTo>
                  <a:lnTo>
                    <a:pt x="1205" y="376"/>
                  </a:lnTo>
                  <a:lnTo>
                    <a:pt x="1205" y="368"/>
                  </a:lnTo>
                  <a:lnTo>
                    <a:pt x="1205" y="344"/>
                  </a:lnTo>
                  <a:lnTo>
                    <a:pt x="1180" y="3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56" name="Freeform 8"/>
            <p:cNvSpPr>
              <a:spLocks/>
            </p:cNvSpPr>
            <p:nvPr/>
          </p:nvSpPr>
          <p:spPr bwMode="auto">
            <a:xfrm>
              <a:off x="1730" y="3408"/>
              <a:ext cx="421" cy="616"/>
            </a:xfrm>
            <a:custGeom>
              <a:avLst/>
              <a:gdLst>
                <a:gd name="T0" fmla="*/ 396 w 421"/>
                <a:gd name="T1" fmla="*/ 88 h 616"/>
                <a:gd name="T2" fmla="*/ 387 w 421"/>
                <a:gd name="T3" fmla="*/ 64 h 616"/>
                <a:gd name="T4" fmla="*/ 328 w 421"/>
                <a:gd name="T5" fmla="*/ 56 h 616"/>
                <a:gd name="T6" fmla="*/ 286 w 421"/>
                <a:gd name="T7" fmla="*/ 40 h 616"/>
                <a:gd name="T8" fmla="*/ 236 w 421"/>
                <a:gd name="T9" fmla="*/ 32 h 616"/>
                <a:gd name="T10" fmla="*/ 244 w 421"/>
                <a:gd name="T11" fmla="*/ 8 h 616"/>
                <a:gd name="T12" fmla="*/ 177 w 421"/>
                <a:gd name="T13" fmla="*/ 8 h 616"/>
                <a:gd name="T14" fmla="*/ 160 w 421"/>
                <a:gd name="T15" fmla="*/ 112 h 616"/>
                <a:gd name="T16" fmla="*/ 126 w 421"/>
                <a:gd name="T17" fmla="*/ 208 h 616"/>
                <a:gd name="T18" fmla="*/ 42 w 421"/>
                <a:gd name="T19" fmla="*/ 304 h 616"/>
                <a:gd name="T20" fmla="*/ 8 w 421"/>
                <a:gd name="T21" fmla="*/ 368 h 616"/>
                <a:gd name="T22" fmla="*/ 34 w 421"/>
                <a:gd name="T23" fmla="*/ 384 h 616"/>
                <a:gd name="T24" fmla="*/ 25 w 421"/>
                <a:gd name="T25" fmla="*/ 408 h 616"/>
                <a:gd name="T26" fmla="*/ 67 w 421"/>
                <a:gd name="T27" fmla="*/ 416 h 616"/>
                <a:gd name="T28" fmla="*/ 42 w 421"/>
                <a:gd name="T29" fmla="*/ 512 h 616"/>
                <a:gd name="T30" fmla="*/ 8 w 421"/>
                <a:gd name="T31" fmla="*/ 576 h 616"/>
                <a:gd name="T32" fmla="*/ 8 w 421"/>
                <a:gd name="T33" fmla="*/ 592 h 616"/>
                <a:gd name="T34" fmla="*/ 84 w 421"/>
                <a:gd name="T35" fmla="*/ 600 h 616"/>
                <a:gd name="T36" fmla="*/ 160 w 421"/>
                <a:gd name="T37" fmla="*/ 608 h 616"/>
                <a:gd name="T38" fmla="*/ 168 w 421"/>
                <a:gd name="T39" fmla="*/ 576 h 616"/>
                <a:gd name="T40" fmla="*/ 219 w 421"/>
                <a:gd name="T41" fmla="*/ 520 h 616"/>
                <a:gd name="T42" fmla="*/ 236 w 421"/>
                <a:gd name="T43" fmla="*/ 496 h 616"/>
                <a:gd name="T44" fmla="*/ 219 w 421"/>
                <a:gd name="T45" fmla="*/ 456 h 616"/>
                <a:gd name="T46" fmla="*/ 236 w 421"/>
                <a:gd name="T47" fmla="*/ 416 h 616"/>
                <a:gd name="T48" fmla="*/ 269 w 421"/>
                <a:gd name="T49" fmla="*/ 400 h 616"/>
                <a:gd name="T50" fmla="*/ 253 w 421"/>
                <a:gd name="T51" fmla="*/ 376 h 616"/>
                <a:gd name="T52" fmla="*/ 261 w 421"/>
                <a:gd name="T53" fmla="*/ 312 h 616"/>
                <a:gd name="T54" fmla="*/ 303 w 421"/>
                <a:gd name="T55" fmla="*/ 288 h 616"/>
                <a:gd name="T56" fmla="*/ 312 w 421"/>
                <a:gd name="T57" fmla="*/ 256 h 616"/>
                <a:gd name="T58" fmla="*/ 320 w 421"/>
                <a:gd name="T59" fmla="*/ 224 h 616"/>
                <a:gd name="T60" fmla="*/ 328 w 421"/>
                <a:gd name="T61" fmla="*/ 168 h 616"/>
                <a:gd name="T62" fmla="*/ 387 w 421"/>
                <a:gd name="T63" fmla="*/ 136 h 616"/>
                <a:gd name="T64" fmla="*/ 421 w 421"/>
                <a:gd name="T65" fmla="*/ 112 h 616"/>
                <a:gd name="T66" fmla="*/ 413 w 421"/>
                <a:gd name="T67" fmla="*/ 96 h 6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421" h="616">
                  <a:moveTo>
                    <a:pt x="413" y="96"/>
                  </a:moveTo>
                  <a:lnTo>
                    <a:pt x="396" y="88"/>
                  </a:lnTo>
                  <a:lnTo>
                    <a:pt x="396" y="80"/>
                  </a:lnTo>
                  <a:lnTo>
                    <a:pt x="387" y="64"/>
                  </a:lnTo>
                  <a:lnTo>
                    <a:pt x="354" y="48"/>
                  </a:lnTo>
                  <a:lnTo>
                    <a:pt x="328" y="56"/>
                  </a:lnTo>
                  <a:lnTo>
                    <a:pt x="303" y="56"/>
                  </a:lnTo>
                  <a:lnTo>
                    <a:pt x="286" y="40"/>
                  </a:lnTo>
                  <a:lnTo>
                    <a:pt x="253" y="40"/>
                  </a:lnTo>
                  <a:lnTo>
                    <a:pt x="236" y="32"/>
                  </a:lnTo>
                  <a:lnTo>
                    <a:pt x="244" y="24"/>
                  </a:lnTo>
                  <a:lnTo>
                    <a:pt x="244" y="8"/>
                  </a:lnTo>
                  <a:lnTo>
                    <a:pt x="227" y="0"/>
                  </a:lnTo>
                  <a:lnTo>
                    <a:pt x="177" y="8"/>
                  </a:lnTo>
                  <a:lnTo>
                    <a:pt x="177" y="40"/>
                  </a:lnTo>
                  <a:lnTo>
                    <a:pt x="160" y="112"/>
                  </a:lnTo>
                  <a:lnTo>
                    <a:pt x="143" y="144"/>
                  </a:lnTo>
                  <a:lnTo>
                    <a:pt x="126" y="208"/>
                  </a:lnTo>
                  <a:lnTo>
                    <a:pt x="92" y="256"/>
                  </a:lnTo>
                  <a:lnTo>
                    <a:pt x="42" y="304"/>
                  </a:lnTo>
                  <a:lnTo>
                    <a:pt x="17" y="352"/>
                  </a:lnTo>
                  <a:lnTo>
                    <a:pt x="8" y="368"/>
                  </a:lnTo>
                  <a:lnTo>
                    <a:pt x="17" y="376"/>
                  </a:lnTo>
                  <a:lnTo>
                    <a:pt x="34" y="384"/>
                  </a:lnTo>
                  <a:lnTo>
                    <a:pt x="25" y="400"/>
                  </a:lnTo>
                  <a:lnTo>
                    <a:pt x="25" y="408"/>
                  </a:lnTo>
                  <a:lnTo>
                    <a:pt x="34" y="416"/>
                  </a:lnTo>
                  <a:lnTo>
                    <a:pt x="67" y="416"/>
                  </a:lnTo>
                  <a:lnTo>
                    <a:pt x="42" y="480"/>
                  </a:lnTo>
                  <a:lnTo>
                    <a:pt x="42" y="512"/>
                  </a:lnTo>
                  <a:lnTo>
                    <a:pt x="25" y="544"/>
                  </a:lnTo>
                  <a:lnTo>
                    <a:pt x="8" y="576"/>
                  </a:lnTo>
                  <a:lnTo>
                    <a:pt x="0" y="592"/>
                  </a:lnTo>
                  <a:lnTo>
                    <a:pt x="8" y="592"/>
                  </a:lnTo>
                  <a:lnTo>
                    <a:pt x="50" y="592"/>
                  </a:lnTo>
                  <a:lnTo>
                    <a:pt x="84" y="600"/>
                  </a:lnTo>
                  <a:lnTo>
                    <a:pt x="126" y="616"/>
                  </a:lnTo>
                  <a:lnTo>
                    <a:pt x="160" y="608"/>
                  </a:lnTo>
                  <a:lnTo>
                    <a:pt x="168" y="576"/>
                  </a:lnTo>
                  <a:lnTo>
                    <a:pt x="177" y="544"/>
                  </a:lnTo>
                  <a:lnTo>
                    <a:pt x="219" y="520"/>
                  </a:lnTo>
                  <a:lnTo>
                    <a:pt x="244" y="496"/>
                  </a:lnTo>
                  <a:lnTo>
                    <a:pt x="236" y="496"/>
                  </a:lnTo>
                  <a:lnTo>
                    <a:pt x="227" y="480"/>
                  </a:lnTo>
                  <a:lnTo>
                    <a:pt x="219" y="456"/>
                  </a:lnTo>
                  <a:lnTo>
                    <a:pt x="227" y="432"/>
                  </a:lnTo>
                  <a:lnTo>
                    <a:pt x="236" y="416"/>
                  </a:lnTo>
                  <a:lnTo>
                    <a:pt x="261" y="408"/>
                  </a:lnTo>
                  <a:lnTo>
                    <a:pt x="269" y="400"/>
                  </a:lnTo>
                  <a:lnTo>
                    <a:pt x="269" y="392"/>
                  </a:lnTo>
                  <a:lnTo>
                    <a:pt x="253" y="376"/>
                  </a:lnTo>
                  <a:lnTo>
                    <a:pt x="236" y="312"/>
                  </a:lnTo>
                  <a:lnTo>
                    <a:pt x="261" y="312"/>
                  </a:lnTo>
                  <a:lnTo>
                    <a:pt x="286" y="304"/>
                  </a:lnTo>
                  <a:lnTo>
                    <a:pt x="303" y="288"/>
                  </a:lnTo>
                  <a:lnTo>
                    <a:pt x="303" y="256"/>
                  </a:lnTo>
                  <a:lnTo>
                    <a:pt x="312" y="256"/>
                  </a:lnTo>
                  <a:lnTo>
                    <a:pt x="320" y="248"/>
                  </a:lnTo>
                  <a:lnTo>
                    <a:pt x="320" y="224"/>
                  </a:lnTo>
                  <a:lnTo>
                    <a:pt x="337" y="192"/>
                  </a:lnTo>
                  <a:lnTo>
                    <a:pt x="328" y="168"/>
                  </a:lnTo>
                  <a:lnTo>
                    <a:pt x="362" y="152"/>
                  </a:lnTo>
                  <a:lnTo>
                    <a:pt x="387" y="136"/>
                  </a:lnTo>
                  <a:lnTo>
                    <a:pt x="421" y="120"/>
                  </a:lnTo>
                  <a:lnTo>
                    <a:pt x="421" y="112"/>
                  </a:lnTo>
                  <a:lnTo>
                    <a:pt x="413" y="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57" name="Freeform 9"/>
            <p:cNvSpPr>
              <a:spLocks/>
            </p:cNvSpPr>
            <p:nvPr/>
          </p:nvSpPr>
          <p:spPr bwMode="auto">
            <a:xfrm>
              <a:off x="2117" y="1888"/>
              <a:ext cx="396" cy="408"/>
            </a:xfrm>
            <a:custGeom>
              <a:avLst/>
              <a:gdLst>
                <a:gd name="T0" fmla="*/ 363 w 396"/>
                <a:gd name="T1" fmla="*/ 160 h 408"/>
                <a:gd name="T2" fmla="*/ 354 w 396"/>
                <a:gd name="T3" fmla="*/ 136 h 408"/>
                <a:gd name="T4" fmla="*/ 329 w 396"/>
                <a:gd name="T5" fmla="*/ 120 h 408"/>
                <a:gd name="T6" fmla="*/ 295 w 396"/>
                <a:gd name="T7" fmla="*/ 144 h 408"/>
                <a:gd name="T8" fmla="*/ 262 w 396"/>
                <a:gd name="T9" fmla="*/ 96 h 408"/>
                <a:gd name="T10" fmla="*/ 278 w 396"/>
                <a:gd name="T11" fmla="*/ 80 h 408"/>
                <a:gd name="T12" fmla="*/ 278 w 396"/>
                <a:gd name="T13" fmla="*/ 64 h 408"/>
                <a:gd name="T14" fmla="*/ 312 w 396"/>
                <a:gd name="T15" fmla="*/ 64 h 408"/>
                <a:gd name="T16" fmla="*/ 321 w 396"/>
                <a:gd name="T17" fmla="*/ 48 h 408"/>
                <a:gd name="T18" fmla="*/ 329 w 396"/>
                <a:gd name="T19" fmla="*/ 32 h 408"/>
                <a:gd name="T20" fmla="*/ 346 w 396"/>
                <a:gd name="T21" fmla="*/ 24 h 408"/>
                <a:gd name="T22" fmla="*/ 354 w 396"/>
                <a:gd name="T23" fmla="*/ 0 h 408"/>
                <a:gd name="T24" fmla="*/ 329 w 396"/>
                <a:gd name="T25" fmla="*/ 0 h 408"/>
                <a:gd name="T26" fmla="*/ 304 w 396"/>
                <a:gd name="T27" fmla="*/ 8 h 408"/>
                <a:gd name="T28" fmla="*/ 262 w 396"/>
                <a:gd name="T29" fmla="*/ 8 h 408"/>
                <a:gd name="T30" fmla="*/ 253 w 396"/>
                <a:gd name="T31" fmla="*/ 32 h 408"/>
                <a:gd name="T32" fmla="*/ 219 w 396"/>
                <a:gd name="T33" fmla="*/ 56 h 408"/>
                <a:gd name="T34" fmla="*/ 219 w 396"/>
                <a:gd name="T35" fmla="*/ 80 h 408"/>
                <a:gd name="T36" fmla="*/ 186 w 396"/>
                <a:gd name="T37" fmla="*/ 96 h 408"/>
                <a:gd name="T38" fmla="*/ 127 w 396"/>
                <a:gd name="T39" fmla="*/ 72 h 408"/>
                <a:gd name="T40" fmla="*/ 93 w 396"/>
                <a:gd name="T41" fmla="*/ 104 h 408"/>
                <a:gd name="T42" fmla="*/ 110 w 396"/>
                <a:gd name="T43" fmla="*/ 136 h 408"/>
                <a:gd name="T44" fmla="*/ 76 w 396"/>
                <a:gd name="T45" fmla="*/ 160 h 408"/>
                <a:gd name="T46" fmla="*/ 110 w 396"/>
                <a:gd name="T47" fmla="*/ 192 h 408"/>
                <a:gd name="T48" fmla="*/ 152 w 396"/>
                <a:gd name="T49" fmla="*/ 208 h 408"/>
                <a:gd name="T50" fmla="*/ 144 w 396"/>
                <a:gd name="T51" fmla="*/ 224 h 408"/>
                <a:gd name="T52" fmla="*/ 118 w 396"/>
                <a:gd name="T53" fmla="*/ 224 h 408"/>
                <a:gd name="T54" fmla="*/ 102 w 396"/>
                <a:gd name="T55" fmla="*/ 256 h 408"/>
                <a:gd name="T56" fmla="*/ 51 w 396"/>
                <a:gd name="T57" fmla="*/ 272 h 408"/>
                <a:gd name="T58" fmla="*/ 51 w 396"/>
                <a:gd name="T59" fmla="*/ 304 h 408"/>
                <a:gd name="T60" fmla="*/ 9 w 396"/>
                <a:gd name="T61" fmla="*/ 312 h 408"/>
                <a:gd name="T62" fmla="*/ 26 w 396"/>
                <a:gd name="T63" fmla="*/ 328 h 408"/>
                <a:gd name="T64" fmla="*/ 0 w 396"/>
                <a:gd name="T65" fmla="*/ 368 h 408"/>
                <a:gd name="T66" fmla="*/ 26 w 396"/>
                <a:gd name="T67" fmla="*/ 376 h 408"/>
                <a:gd name="T68" fmla="*/ 26 w 396"/>
                <a:gd name="T69" fmla="*/ 400 h 408"/>
                <a:gd name="T70" fmla="*/ 59 w 396"/>
                <a:gd name="T71" fmla="*/ 408 h 408"/>
                <a:gd name="T72" fmla="*/ 160 w 396"/>
                <a:gd name="T73" fmla="*/ 408 h 408"/>
                <a:gd name="T74" fmla="*/ 228 w 396"/>
                <a:gd name="T75" fmla="*/ 376 h 408"/>
                <a:gd name="T76" fmla="*/ 287 w 396"/>
                <a:gd name="T77" fmla="*/ 376 h 408"/>
                <a:gd name="T78" fmla="*/ 329 w 396"/>
                <a:gd name="T79" fmla="*/ 392 h 408"/>
                <a:gd name="T80" fmla="*/ 329 w 396"/>
                <a:gd name="T81" fmla="*/ 360 h 408"/>
                <a:gd name="T82" fmla="*/ 354 w 396"/>
                <a:gd name="T83" fmla="*/ 328 h 408"/>
                <a:gd name="T84" fmla="*/ 371 w 396"/>
                <a:gd name="T85" fmla="*/ 304 h 408"/>
                <a:gd name="T86" fmla="*/ 388 w 396"/>
                <a:gd name="T87" fmla="*/ 232 h 408"/>
                <a:gd name="T88" fmla="*/ 380 w 396"/>
                <a:gd name="T89" fmla="*/ 208 h 408"/>
                <a:gd name="T90" fmla="*/ 371 w 396"/>
                <a:gd name="T91" fmla="*/ 176 h 408"/>
                <a:gd name="T92" fmla="*/ 396 w 396"/>
                <a:gd name="T93" fmla="*/ 168 h 408"/>
                <a:gd name="T94" fmla="*/ 380 w 396"/>
                <a:gd name="T95" fmla="*/ 160 h 408"/>
                <a:gd name="T96" fmla="*/ 363 w 396"/>
                <a:gd name="T97" fmla="*/ 160 h 40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96" h="408">
                  <a:moveTo>
                    <a:pt x="363" y="160"/>
                  </a:moveTo>
                  <a:lnTo>
                    <a:pt x="354" y="136"/>
                  </a:lnTo>
                  <a:lnTo>
                    <a:pt x="329" y="120"/>
                  </a:lnTo>
                  <a:lnTo>
                    <a:pt x="295" y="144"/>
                  </a:lnTo>
                  <a:lnTo>
                    <a:pt x="262" y="96"/>
                  </a:lnTo>
                  <a:lnTo>
                    <a:pt x="278" y="80"/>
                  </a:lnTo>
                  <a:lnTo>
                    <a:pt x="278" y="64"/>
                  </a:lnTo>
                  <a:lnTo>
                    <a:pt x="312" y="64"/>
                  </a:lnTo>
                  <a:lnTo>
                    <a:pt x="321" y="48"/>
                  </a:lnTo>
                  <a:lnTo>
                    <a:pt x="329" y="32"/>
                  </a:lnTo>
                  <a:lnTo>
                    <a:pt x="346" y="24"/>
                  </a:lnTo>
                  <a:lnTo>
                    <a:pt x="354" y="0"/>
                  </a:lnTo>
                  <a:lnTo>
                    <a:pt x="329" y="0"/>
                  </a:lnTo>
                  <a:lnTo>
                    <a:pt x="304" y="8"/>
                  </a:lnTo>
                  <a:lnTo>
                    <a:pt x="262" y="8"/>
                  </a:lnTo>
                  <a:lnTo>
                    <a:pt x="253" y="32"/>
                  </a:lnTo>
                  <a:lnTo>
                    <a:pt x="219" y="56"/>
                  </a:lnTo>
                  <a:lnTo>
                    <a:pt x="219" y="80"/>
                  </a:lnTo>
                  <a:lnTo>
                    <a:pt x="186" y="96"/>
                  </a:lnTo>
                  <a:lnTo>
                    <a:pt x="127" y="72"/>
                  </a:lnTo>
                  <a:lnTo>
                    <a:pt x="93" y="104"/>
                  </a:lnTo>
                  <a:lnTo>
                    <a:pt x="110" y="136"/>
                  </a:lnTo>
                  <a:lnTo>
                    <a:pt x="76" y="160"/>
                  </a:lnTo>
                  <a:lnTo>
                    <a:pt x="110" y="192"/>
                  </a:lnTo>
                  <a:lnTo>
                    <a:pt x="152" y="208"/>
                  </a:lnTo>
                  <a:lnTo>
                    <a:pt x="144" y="224"/>
                  </a:lnTo>
                  <a:lnTo>
                    <a:pt x="118" y="224"/>
                  </a:lnTo>
                  <a:lnTo>
                    <a:pt x="102" y="256"/>
                  </a:lnTo>
                  <a:lnTo>
                    <a:pt x="51" y="272"/>
                  </a:lnTo>
                  <a:lnTo>
                    <a:pt x="51" y="304"/>
                  </a:lnTo>
                  <a:lnTo>
                    <a:pt x="9" y="312"/>
                  </a:lnTo>
                  <a:lnTo>
                    <a:pt x="26" y="328"/>
                  </a:lnTo>
                  <a:lnTo>
                    <a:pt x="0" y="368"/>
                  </a:lnTo>
                  <a:lnTo>
                    <a:pt x="26" y="376"/>
                  </a:lnTo>
                  <a:lnTo>
                    <a:pt x="26" y="400"/>
                  </a:lnTo>
                  <a:lnTo>
                    <a:pt x="59" y="408"/>
                  </a:lnTo>
                  <a:lnTo>
                    <a:pt x="160" y="408"/>
                  </a:lnTo>
                  <a:lnTo>
                    <a:pt x="228" y="376"/>
                  </a:lnTo>
                  <a:lnTo>
                    <a:pt x="287" y="376"/>
                  </a:lnTo>
                  <a:lnTo>
                    <a:pt x="329" y="392"/>
                  </a:lnTo>
                  <a:lnTo>
                    <a:pt x="329" y="360"/>
                  </a:lnTo>
                  <a:lnTo>
                    <a:pt x="354" y="328"/>
                  </a:lnTo>
                  <a:lnTo>
                    <a:pt x="371" y="304"/>
                  </a:lnTo>
                  <a:lnTo>
                    <a:pt x="388" y="232"/>
                  </a:lnTo>
                  <a:lnTo>
                    <a:pt x="380" y="208"/>
                  </a:lnTo>
                  <a:lnTo>
                    <a:pt x="371" y="176"/>
                  </a:lnTo>
                  <a:lnTo>
                    <a:pt x="396" y="168"/>
                  </a:lnTo>
                  <a:lnTo>
                    <a:pt x="380" y="160"/>
                  </a:lnTo>
                  <a:lnTo>
                    <a:pt x="363" y="16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58" name="Freeform 10"/>
            <p:cNvSpPr>
              <a:spLocks/>
            </p:cNvSpPr>
            <p:nvPr/>
          </p:nvSpPr>
          <p:spPr bwMode="auto">
            <a:xfrm>
              <a:off x="2379" y="1912"/>
              <a:ext cx="202" cy="144"/>
            </a:xfrm>
            <a:custGeom>
              <a:avLst/>
              <a:gdLst>
                <a:gd name="T0" fmla="*/ 185 w 202"/>
                <a:gd name="T1" fmla="*/ 72 h 144"/>
                <a:gd name="T2" fmla="*/ 177 w 202"/>
                <a:gd name="T3" fmla="*/ 48 h 144"/>
                <a:gd name="T4" fmla="*/ 177 w 202"/>
                <a:gd name="T5" fmla="*/ 16 h 144"/>
                <a:gd name="T6" fmla="*/ 151 w 202"/>
                <a:gd name="T7" fmla="*/ 0 h 144"/>
                <a:gd name="T8" fmla="*/ 126 w 202"/>
                <a:gd name="T9" fmla="*/ 0 h 144"/>
                <a:gd name="T10" fmla="*/ 109 w 202"/>
                <a:gd name="T11" fmla="*/ 0 h 144"/>
                <a:gd name="T12" fmla="*/ 84 w 202"/>
                <a:gd name="T13" fmla="*/ 0 h 144"/>
                <a:gd name="T14" fmla="*/ 84 w 202"/>
                <a:gd name="T15" fmla="*/ 8 h 144"/>
                <a:gd name="T16" fmla="*/ 84 w 202"/>
                <a:gd name="T17" fmla="*/ 0 h 144"/>
                <a:gd name="T18" fmla="*/ 67 w 202"/>
                <a:gd name="T19" fmla="*/ 8 h 144"/>
                <a:gd name="T20" fmla="*/ 59 w 202"/>
                <a:gd name="T21" fmla="*/ 24 h 144"/>
                <a:gd name="T22" fmla="*/ 50 w 202"/>
                <a:gd name="T23" fmla="*/ 40 h 144"/>
                <a:gd name="T24" fmla="*/ 16 w 202"/>
                <a:gd name="T25" fmla="*/ 40 h 144"/>
                <a:gd name="T26" fmla="*/ 16 w 202"/>
                <a:gd name="T27" fmla="*/ 56 h 144"/>
                <a:gd name="T28" fmla="*/ 0 w 202"/>
                <a:gd name="T29" fmla="*/ 72 h 144"/>
                <a:gd name="T30" fmla="*/ 33 w 202"/>
                <a:gd name="T31" fmla="*/ 120 h 144"/>
                <a:gd name="T32" fmla="*/ 67 w 202"/>
                <a:gd name="T33" fmla="*/ 96 h 144"/>
                <a:gd name="T34" fmla="*/ 92 w 202"/>
                <a:gd name="T35" fmla="*/ 112 h 144"/>
                <a:gd name="T36" fmla="*/ 101 w 202"/>
                <a:gd name="T37" fmla="*/ 136 h 144"/>
                <a:gd name="T38" fmla="*/ 118 w 202"/>
                <a:gd name="T39" fmla="*/ 136 h 144"/>
                <a:gd name="T40" fmla="*/ 134 w 202"/>
                <a:gd name="T41" fmla="*/ 144 h 144"/>
                <a:gd name="T42" fmla="*/ 143 w 202"/>
                <a:gd name="T43" fmla="*/ 144 h 144"/>
                <a:gd name="T44" fmla="*/ 168 w 202"/>
                <a:gd name="T45" fmla="*/ 128 h 144"/>
                <a:gd name="T46" fmla="*/ 193 w 202"/>
                <a:gd name="T47" fmla="*/ 120 h 144"/>
                <a:gd name="T48" fmla="*/ 202 w 202"/>
                <a:gd name="T49" fmla="*/ 88 h 144"/>
                <a:gd name="T50" fmla="*/ 185 w 202"/>
                <a:gd name="T51" fmla="*/ 72 h 14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02" h="144">
                  <a:moveTo>
                    <a:pt x="185" y="72"/>
                  </a:moveTo>
                  <a:lnTo>
                    <a:pt x="177" y="48"/>
                  </a:lnTo>
                  <a:lnTo>
                    <a:pt x="177" y="16"/>
                  </a:lnTo>
                  <a:lnTo>
                    <a:pt x="151" y="0"/>
                  </a:lnTo>
                  <a:lnTo>
                    <a:pt x="126" y="0"/>
                  </a:lnTo>
                  <a:lnTo>
                    <a:pt x="109" y="0"/>
                  </a:lnTo>
                  <a:lnTo>
                    <a:pt x="84" y="0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67" y="8"/>
                  </a:lnTo>
                  <a:lnTo>
                    <a:pt x="59" y="24"/>
                  </a:lnTo>
                  <a:lnTo>
                    <a:pt x="50" y="40"/>
                  </a:lnTo>
                  <a:lnTo>
                    <a:pt x="16" y="40"/>
                  </a:lnTo>
                  <a:lnTo>
                    <a:pt x="16" y="56"/>
                  </a:lnTo>
                  <a:lnTo>
                    <a:pt x="0" y="72"/>
                  </a:lnTo>
                  <a:lnTo>
                    <a:pt x="33" y="120"/>
                  </a:lnTo>
                  <a:lnTo>
                    <a:pt x="67" y="96"/>
                  </a:lnTo>
                  <a:lnTo>
                    <a:pt x="92" y="112"/>
                  </a:lnTo>
                  <a:lnTo>
                    <a:pt x="101" y="136"/>
                  </a:lnTo>
                  <a:lnTo>
                    <a:pt x="118" y="136"/>
                  </a:lnTo>
                  <a:lnTo>
                    <a:pt x="134" y="144"/>
                  </a:lnTo>
                  <a:lnTo>
                    <a:pt x="143" y="144"/>
                  </a:lnTo>
                  <a:lnTo>
                    <a:pt x="168" y="128"/>
                  </a:lnTo>
                  <a:lnTo>
                    <a:pt x="193" y="120"/>
                  </a:lnTo>
                  <a:lnTo>
                    <a:pt x="202" y="88"/>
                  </a:lnTo>
                  <a:lnTo>
                    <a:pt x="185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59" name="Freeform 11"/>
            <p:cNvSpPr>
              <a:spLocks/>
            </p:cNvSpPr>
            <p:nvPr/>
          </p:nvSpPr>
          <p:spPr bwMode="auto">
            <a:xfrm>
              <a:off x="2429" y="1536"/>
              <a:ext cx="666" cy="1016"/>
            </a:xfrm>
            <a:custGeom>
              <a:avLst/>
              <a:gdLst>
                <a:gd name="T0" fmla="*/ 337 w 666"/>
                <a:gd name="T1" fmla="*/ 96 h 1016"/>
                <a:gd name="T2" fmla="*/ 421 w 666"/>
                <a:gd name="T3" fmla="*/ 24 h 1016"/>
                <a:gd name="T4" fmla="*/ 270 w 666"/>
                <a:gd name="T5" fmla="*/ 24 h 1016"/>
                <a:gd name="T6" fmla="*/ 253 w 666"/>
                <a:gd name="T7" fmla="*/ 80 h 1016"/>
                <a:gd name="T8" fmla="*/ 202 w 666"/>
                <a:gd name="T9" fmla="*/ 136 h 1016"/>
                <a:gd name="T10" fmla="*/ 169 w 666"/>
                <a:gd name="T11" fmla="*/ 200 h 1016"/>
                <a:gd name="T12" fmla="*/ 202 w 666"/>
                <a:gd name="T13" fmla="*/ 232 h 1016"/>
                <a:gd name="T14" fmla="*/ 169 w 666"/>
                <a:gd name="T15" fmla="*/ 320 h 1016"/>
                <a:gd name="T16" fmla="*/ 186 w 666"/>
                <a:gd name="T17" fmla="*/ 344 h 1016"/>
                <a:gd name="T18" fmla="*/ 228 w 666"/>
                <a:gd name="T19" fmla="*/ 320 h 1016"/>
                <a:gd name="T20" fmla="*/ 186 w 666"/>
                <a:gd name="T21" fmla="*/ 424 h 1016"/>
                <a:gd name="T22" fmla="*/ 236 w 666"/>
                <a:gd name="T23" fmla="*/ 464 h 1016"/>
                <a:gd name="T24" fmla="*/ 303 w 666"/>
                <a:gd name="T25" fmla="*/ 448 h 1016"/>
                <a:gd name="T26" fmla="*/ 287 w 666"/>
                <a:gd name="T27" fmla="*/ 496 h 1016"/>
                <a:gd name="T28" fmla="*/ 329 w 666"/>
                <a:gd name="T29" fmla="*/ 576 h 1016"/>
                <a:gd name="T30" fmla="*/ 295 w 666"/>
                <a:gd name="T31" fmla="*/ 648 h 1016"/>
                <a:gd name="T32" fmla="*/ 202 w 666"/>
                <a:gd name="T33" fmla="*/ 624 h 1016"/>
                <a:gd name="T34" fmla="*/ 160 w 666"/>
                <a:gd name="T35" fmla="*/ 680 h 1016"/>
                <a:gd name="T36" fmla="*/ 211 w 666"/>
                <a:gd name="T37" fmla="*/ 744 h 1016"/>
                <a:gd name="T38" fmla="*/ 101 w 666"/>
                <a:gd name="T39" fmla="*/ 776 h 1016"/>
                <a:gd name="T40" fmla="*/ 101 w 666"/>
                <a:gd name="T41" fmla="*/ 808 h 1016"/>
                <a:gd name="T42" fmla="*/ 169 w 666"/>
                <a:gd name="T43" fmla="*/ 824 h 1016"/>
                <a:gd name="T44" fmla="*/ 219 w 666"/>
                <a:gd name="T45" fmla="*/ 864 h 1016"/>
                <a:gd name="T46" fmla="*/ 295 w 666"/>
                <a:gd name="T47" fmla="*/ 848 h 1016"/>
                <a:gd name="T48" fmla="*/ 228 w 666"/>
                <a:gd name="T49" fmla="*/ 896 h 1016"/>
                <a:gd name="T50" fmla="*/ 127 w 666"/>
                <a:gd name="T51" fmla="*/ 904 h 1016"/>
                <a:gd name="T52" fmla="*/ 0 w 666"/>
                <a:gd name="T53" fmla="*/ 984 h 1016"/>
                <a:gd name="T54" fmla="*/ 51 w 666"/>
                <a:gd name="T55" fmla="*/ 1016 h 1016"/>
                <a:gd name="T56" fmla="*/ 93 w 666"/>
                <a:gd name="T57" fmla="*/ 976 h 1016"/>
                <a:gd name="T58" fmla="*/ 219 w 666"/>
                <a:gd name="T59" fmla="*/ 960 h 1016"/>
                <a:gd name="T60" fmla="*/ 337 w 666"/>
                <a:gd name="T61" fmla="*/ 984 h 1016"/>
                <a:gd name="T62" fmla="*/ 421 w 666"/>
                <a:gd name="T63" fmla="*/ 968 h 1016"/>
                <a:gd name="T64" fmla="*/ 573 w 666"/>
                <a:gd name="T65" fmla="*/ 968 h 1016"/>
                <a:gd name="T66" fmla="*/ 624 w 666"/>
                <a:gd name="T67" fmla="*/ 928 h 1016"/>
                <a:gd name="T68" fmla="*/ 590 w 666"/>
                <a:gd name="T69" fmla="*/ 872 h 1016"/>
                <a:gd name="T70" fmla="*/ 649 w 666"/>
                <a:gd name="T71" fmla="*/ 840 h 1016"/>
                <a:gd name="T72" fmla="*/ 666 w 666"/>
                <a:gd name="T73" fmla="*/ 760 h 1016"/>
                <a:gd name="T74" fmla="*/ 539 w 666"/>
                <a:gd name="T75" fmla="*/ 728 h 1016"/>
                <a:gd name="T76" fmla="*/ 523 w 666"/>
                <a:gd name="T77" fmla="*/ 632 h 1016"/>
                <a:gd name="T78" fmla="*/ 539 w 666"/>
                <a:gd name="T79" fmla="*/ 576 h 1016"/>
                <a:gd name="T80" fmla="*/ 480 w 666"/>
                <a:gd name="T81" fmla="*/ 512 h 1016"/>
                <a:gd name="T82" fmla="*/ 455 w 666"/>
                <a:gd name="T83" fmla="*/ 392 h 1016"/>
                <a:gd name="T84" fmla="*/ 413 w 666"/>
                <a:gd name="T85" fmla="*/ 344 h 1016"/>
                <a:gd name="T86" fmla="*/ 337 w 666"/>
                <a:gd name="T87" fmla="*/ 320 h 1016"/>
                <a:gd name="T88" fmla="*/ 388 w 666"/>
                <a:gd name="T89" fmla="*/ 280 h 1016"/>
                <a:gd name="T90" fmla="*/ 447 w 666"/>
                <a:gd name="T91" fmla="*/ 224 h 1016"/>
                <a:gd name="T92" fmla="*/ 489 w 666"/>
                <a:gd name="T93" fmla="*/ 144 h 1016"/>
                <a:gd name="T94" fmla="*/ 379 w 666"/>
                <a:gd name="T95" fmla="*/ 120 h 101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666" h="1016">
                  <a:moveTo>
                    <a:pt x="329" y="128"/>
                  </a:moveTo>
                  <a:lnTo>
                    <a:pt x="354" y="104"/>
                  </a:lnTo>
                  <a:lnTo>
                    <a:pt x="337" y="96"/>
                  </a:lnTo>
                  <a:lnTo>
                    <a:pt x="388" y="64"/>
                  </a:lnTo>
                  <a:lnTo>
                    <a:pt x="413" y="56"/>
                  </a:lnTo>
                  <a:lnTo>
                    <a:pt x="421" y="24"/>
                  </a:lnTo>
                  <a:lnTo>
                    <a:pt x="320" y="16"/>
                  </a:lnTo>
                  <a:lnTo>
                    <a:pt x="287" y="0"/>
                  </a:lnTo>
                  <a:lnTo>
                    <a:pt x="270" y="24"/>
                  </a:lnTo>
                  <a:lnTo>
                    <a:pt x="253" y="40"/>
                  </a:lnTo>
                  <a:lnTo>
                    <a:pt x="245" y="56"/>
                  </a:lnTo>
                  <a:lnTo>
                    <a:pt x="253" y="80"/>
                  </a:lnTo>
                  <a:lnTo>
                    <a:pt x="219" y="88"/>
                  </a:lnTo>
                  <a:lnTo>
                    <a:pt x="202" y="104"/>
                  </a:lnTo>
                  <a:lnTo>
                    <a:pt x="202" y="136"/>
                  </a:lnTo>
                  <a:lnTo>
                    <a:pt x="202" y="160"/>
                  </a:lnTo>
                  <a:lnTo>
                    <a:pt x="186" y="184"/>
                  </a:lnTo>
                  <a:lnTo>
                    <a:pt x="169" y="200"/>
                  </a:lnTo>
                  <a:lnTo>
                    <a:pt x="135" y="248"/>
                  </a:lnTo>
                  <a:lnTo>
                    <a:pt x="160" y="256"/>
                  </a:lnTo>
                  <a:lnTo>
                    <a:pt x="202" y="232"/>
                  </a:lnTo>
                  <a:lnTo>
                    <a:pt x="186" y="264"/>
                  </a:lnTo>
                  <a:lnTo>
                    <a:pt x="177" y="296"/>
                  </a:lnTo>
                  <a:lnTo>
                    <a:pt x="169" y="320"/>
                  </a:lnTo>
                  <a:lnTo>
                    <a:pt x="143" y="376"/>
                  </a:lnTo>
                  <a:lnTo>
                    <a:pt x="169" y="376"/>
                  </a:lnTo>
                  <a:lnTo>
                    <a:pt x="186" y="344"/>
                  </a:lnTo>
                  <a:lnTo>
                    <a:pt x="202" y="304"/>
                  </a:lnTo>
                  <a:lnTo>
                    <a:pt x="211" y="328"/>
                  </a:lnTo>
                  <a:lnTo>
                    <a:pt x="228" y="320"/>
                  </a:lnTo>
                  <a:lnTo>
                    <a:pt x="219" y="344"/>
                  </a:lnTo>
                  <a:lnTo>
                    <a:pt x="228" y="360"/>
                  </a:lnTo>
                  <a:lnTo>
                    <a:pt x="186" y="424"/>
                  </a:lnTo>
                  <a:lnTo>
                    <a:pt x="194" y="472"/>
                  </a:lnTo>
                  <a:lnTo>
                    <a:pt x="202" y="440"/>
                  </a:lnTo>
                  <a:lnTo>
                    <a:pt x="236" y="464"/>
                  </a:lnTo>
                  <a:lnTo>
                    <a:pt x="253" y="456"/>
                  </a:lnTo>
                  <a:lnTo>
                    <a:pt x="278" y="464"/>
                  </a:lnTo>
                  <a:lnTo>
                    <a:pt x="303" y="448"/>
                  </a:lnTo>
                  <a:lnTo>
                    <a:pt x="329" y="456"/>
                  </a:lnTo>
                  <a:lnTo>
                    <a:pt x="295" y="480"/>
                  </a:lnTo>
                  <a:lnTo>
                    <a:pt x="287" y="496"/>
                  </a:lnTo>
                  <a:lnTo>
                    <a:pt x="312" y="544"/>
                  </a:lnTo>
                  <a:lnTo>
                    <a:pt x="329" y="544"/>
                  </a:lnTo>
                  <a:lnTo>
                    <a:pt x="329" y="576"/>
                  </a:lnTo>
                  <a:lnTo>
                    <a:pt x="320" y="576"/>
                  </a:lnTo>
                  <a:lnTo>
                    <a:pt x="312" y="632"/>
                  </a:lnTo>
                  <a:lnTo>
                    <a:pt x="295" y="648"/>
                  </a:lnTo>
                  <a:lnTo>
                    <a:pt x="287" y="640"/>
                  </a:lnTo>
                  <a:lnTo>
                    <a:pt x="236" y="640"/>
                  </a:lnTo>
                  <a:lnTo>
                    <a:pt x="202" y="624"/>
                  </a:lnTo>
                  <a:lnTo>
                    <a:pt x="186" y="632"/>
                  </a:lnTo>
                  <a:lnTo>
                    <a:pt x="202" y="648"/>
                  </a:lnTo>
                  <a:lnTo>
                    <a:pt x="160" y="680"/>
                  </a:lnTo>
                  <a:lnTo>
                    <a:pt x="177" y="688"/>
                  </a:lnTo>
                  <a:lnTo>
                    <a:pt x="202" y="680"/>
                  </a:lnTo>
                  <a:lnTo>
                    <a:pt x="211" y="744"/>
                  </a:lnTo>
                  <a:lnTo>
                    <a:pt x="169" y="760"/>
                  </a:lnTo>
                  <a:lnTo>
                    <a:pt x="143" y="768"/>
                  </a:lnTo>
                  <a:lnTo>
                    <a:pt x="101" y="776"/>
                  </a:lnTo>
                  <a:lnTo>
                    <a:pt x="84" y="784"/>
                  </a:lnTo>
                  <a:lnTo>
                    <a:pt x="93" y="792"/>
                  </a:lnTo>
                  <a:lnTo>
                    <a:pt x="101" y="808"/>
                  </a:lnTo>
                  <a:lnTo>
                    <a:pt x="135" y="824"/>
                  </a:lnTo>
                  <a:lnTo>
                    <a:pt x="152" y="808"/>
                  </a:lnTo>
                  <a:lnTo>
                    <a:pt x="169" y="824"/>
                  </a:lnTo>
                  <a:lnTo>
                    <a:pt x="160" y="840"/>
                  </a:lnTo>
                  <a:lnTo>
                    <a:pt x="194" y="840"/>
                  </a:lnTo>
                  <a:lnTo>
                    <a:pt x="219" y="864"/>
                  </a:lnTo>
                  <a:lnTo>
                    <a:pt x="261" y="864"/>
                  </a:lnTo>
                  <a:lnTo>
                    <a:pt x="278" y="856"/>
                  </a:lnTo>
                  <a:lnTo>
                    <a:pt x="295" y="848"/>
                  </a:lnTo>
                  <a:lnTo>
                    <a:pt x="270" y="872"/>
                  </a:lnTo>
                  <a:lnTo>
                    <a:pt x="261" y="888"/>
                  </a:lnTo>
                  <a:lnTo>
                    <a:pt x="228" y="896"/>
                  </a:lnTo>
                  <a:lnTo>
                    <a:pt x="160" y="888"/>
                  </a:lnTo>
                  <a:lnTo>
                    <a:pt x="152" y="896"/>
                  </a:lnTo>
                  <a:lnTo>
                    <a:pt x="127" y="904"/>
                  </a:lnTo>
                  <a:lnTo>
                    <a:pt x="110" y="928"/>
                  </a:lnTo>
                  <a:lnTo>
                    <a:pt x="42" y="976"/>
                  </a:lnTo>
                  <a:lnTo>
                    <a:pt x="0" y="984"/>
                  </a:lnTo>
                  <a:lnTo>
                    <a:pt x="9" y="992"/>
                  </a:lnTo>
                  <a:lnTo>
                    <a:pt x="34" y="992"/>
                  </a:lnTo>
                  <a:lnTo>
                    <a:pt x="51" y="1016"/>
                  </a:lnTo>
                  <a:lnTo>
                    <a:pt x="68" y="1008"/>
                  </a:lnTo>
                  <a:lnTo>
                    <a:pt x="68" y="992"/>
                  </a:lnTo>
                  <a:lnTo>
                    <a:pt x="93" y="976"/>
                  </a:lnTo>
                  <a:lnTo>
                    <a:pt x="143" y="976"/>
                  </a:lnTo>
                  <a:lnTo>
                    <a:pt x="169" y="1008"/>
                  </a:lnTo>
                  <a:lnTo>
                    <a:pt x="219" y="960"/>
                  </a:lnTo>
                  <a:lnTo>
                    <a:pt x="261" y="952"/>
                  </a:lnTo>
                  <a:lnTo>
                    <a:pt x="295" y="976"/>
                  </a:lnTo>
                  <a:lnTo>
                    <a:pt x="337" y="984"/>
                  </a:lnTo>
                  <a:lnTo>
                    <a:pt x="346" y="968"/>
                  </a:lnTo>
                  <a:lnTo>
                    <a:pt x="388" y="968"/>
                  </a:lnTo>
                  <a:lnTo>
                    <a:pt x="421" y="968"/>
                  </a:lnTo>
                  <a:lnTo>
                    <a:pt x="472" y="968"/>
                  </a:lnTo>
                  <a:lnTo>
                    <a:pt x="506" y="984"/>
                  </a:lnTo>
                  <a:lnTo>
                    <a:pt x="573" y="968"/>
                  </a:lnTo>
                  <a:lnTo>
                    <a:pt x="590" y="952"/>
                  </a:lnTo>
                  <a:lnTo>
                    <a:pt x="624" y="952"/>
                  </a:lnTo>
                  <a:lnTo>
                    <a:pt x="624" y="928"/>
                  </a:lnTo>
                  <a:lnTo>
                    <a:pt x="565" y="912"/>
                  </a:lnTo>
                  <a:lnTo>
                    <a:pt x="590" y="896"/>
                  </a:lnTo>
                  <a:lnTo>
                    <a:pt x="590" y="872"/>
                  </a:lnTo>
                  <a:lnTo>
                    <a:pt x="624" y="872"/>
                  </a:lnTo>
                  <a:lnTo>
                    <a:pt x="624" y="856"/>
                  </a:lnTo>
                  <a:lnTo>
                    <a:pt x="649" y="840"/>
                  </a:lnTo>
                  <a:lnTo>
                    <a:pt x="657" y="816"/>
                  </a:lnTo>
                  <a:lnTo>
                    <a:pt x="666" y="800"/>
                  </a:lnTo>
                  <a:lnTo>
                    <a:pt x="666" y="760"/>
                  </a:lnTo>
                  <a:lnTo>
                    <a:pt x="582" y="728"/>
                  </a:lnTo>
                  <a:lnTo>
                    <a:pt x="565" y="744"/>
                  </a:lnTo>
                  <a:lnTo>
                    <a:pt x="539" y="728"/>
                  </a:lnTo>
                  <a:lnTo>
                    <a:pt x="573" y="704"/>
                  </a:lnTo>
                  <a:lnTo>
                    <a:pt x="556" y="656"/>
                  </a:lnTo>
                  <a:lnTo>
                    <a:pt x="523" y="632"/>
                  </a:lnTo>
                  <a:lnTo>
                    <a:pt x="548" y="632"/>
                  </a:lnTo>
                  <a:lnTo>
                    <a:pt x="539" y="592"/>
                  </a:lnTo>
                  <a:lnTo>
                    <a:pt x="539" y="576"/>
                  </a:lnTo>
                  <a:lnTo>
                    <a:pt x="531" y="560"/>
                  </a:lnTo>
                  <a:lnTo>
                    <a:pt x="523" y="536"/>
                  </a:lnTo>
                  <a:lnTo>
                    <a:pt x="480" y="512"/>
                  </a:lnTo>
                  <a:lnTo>
                    <a:pt x="472" y="480"/>
                  </a:lnTo>
                  <a:lnTo>
                    <a:pt x="455" y="440"/>
                  </a:lnTo>
                  <a:lnTo>
                    <a:pt x="455" y="392"/>
                  </a:lnTo>
                  <a:lnTo>
                    <a:pt x="447" y="376"/>
                  </a:lnTo>
                  <a:lnTo>
                    <a:pt x="421" y="352"/>
                  </a:lnTo>
                  <a:lnTo>
                    <a:pt x="413" y="344"/>
                  </a:lnTo>
                  <a:lnTo>
                    <a:pt x="396" y="328"/>
                  </a:lnTo>
                  <a:lnTo>
                    <a:pt x="362" y="328"/>
                  </a:lnTo>
                  <a:lnTo>
                    <a:pt x="337" y="320"/>
                  </a:lnTo>
                  <a:lnTo>
                    <a:pt x="371" y="312"/>
                  </a:lnTo>
                  <a:lnTo>
                    <a:pt x="396" y="304"/>
                  </a:lnTo>
                  <a:lnTo>
                    <a:pt x="388" y="280"/>
                  </a:lnTo>
                  <a:lnTo>
                    <a:pt x="421" y="264"/>
                  </a:lnTo>
                  <a:lnTo>
                    <a:pt x="421" y="248"/>
                  </a:lnTo>
                  <a:lnTo>
                    <a:pt x="447" y="224"/>
                  </a:lnTo>
                  <a:lnTo>
                    <a:pt x="455" y="192"/>
                  </a:lnTo>
                  <a:lnTo>
                    <a:pt x="489" y="168"/>
                  </a:lnTo>
                  <a:lnTo>
                    <a:pt x="489" y="144"/>
                  </a:lnTo>
                  <a:lnTo>
                    <a:pt x="447" y="144"/>
                  </a:lnTo>
                  <a:lnTo>
                    <a:pt x="430" y="128"/>
                  </a:lnTo>
                  <a:lnTo>
                    <a:pt x="379" y="120"/>
                  </a:lnTo>
                  <a:lnTo>
                    <a:pt x="329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60" name="Freeform 12"/>
            <p:cNvSpPr>
              <a:spLocks/>
            </p:cNvSpPr>
            <p:nvPr/>
          </p:nvSpPr>
          <p:spPr bwMode="auto">
            <a:xfrm>
              <a:off x="2379" y="1912"/>
              <a:ext cx="202" cy="144"/>
            </a:xfrm>
            <a:custGeom>
              <a:avLst/>
              <a:gdLst>
                <a:gd name="T0" fmla="*/ 185 w 202"/>
                <a:gd name="T1" fmla="*/ 72 h 144"/>
                <a:gd name="T2" fmla="*/ 177 w 202"/>
                <a:gd name="T3" fmla="*/ 48 h 144"/>
                <a:gd name="T4" fmla="*/ 177 w 202"/>
                <a:gd name="T5" fmla="*/ 16 h 144"/>
                <a:gd name="T6" fmla="*/ 151 w 202"/>
                <a:gd name="T7" fmla="*/ 0 h 144"/>
                <a:gd name="T8" fmla="*/ 126 w 202"/>
                <a:gd name="T9" fmla="*/ 0 h 144"/>
                <a:gd name="T10" fmla="*/ 109 w 202"/>
                <a:gd name="T11" fmla="*/ 0 h 144"/>
                <a:gd name="T12" fmla="*/ 84 w 202"/>
                <a:gd name="T13" fmla="*/ 0 h 144"/>
                <a:gd name="T14" fmla="*/ 84 w 202"/>
                <a:gd name="T15" fmla="*/ 8 h 144"/>
                <a:gd name="T16" fmla="*/ 84 w 202"/>
                <a:gd name="T17" fmla="*/ 0 h 144"/>
                <a:gd name="T18" fmla="*/ 67 w 202"/>
                <a:gd name="T19" fmla="*/ 8 h 144"/>
                <a:gd name="T20" fmla="*/ 59 w 202"/>
                <a:gd name="T21" fmla="*/ 24 h 144"/>
                <a:gd name="T22" fmla="*/ 50 w 202"/>
                <a:gd name="T23" fmla="*/ 40 h 144"/>
                <a:gd name="T24" fmla="*/ 16 w 202"/>
                <a:gd name="T25" fmla="*/ 40 h 144"/>
                <a:gd name="T26" fmla="*/ 16 w 202"/>
                <a:gd name="T27" fmla="*/ 56 h 144"/>
                <a:gd name="T28" fmla="*/ 0 w 202"/>
                <a:gd name="T29" fmla="*/ 72 h 144"/>
                <a:gd name="T30" fmla="*/ 33 w 202"/>
                <a:gd name="T31" fmla="*/ 120 h 144"/>
                <a:gd name="T32" fmla="*/ 67 w 202"/>
                <a:gd name="T33" fmla="*/ 96 h 144"/>
                <a:gd name="T34" fmla="*/ 92 w 202"/>
                <a:gd name="T35" fmla="*/ 112 h 144"/>
                <a:gd name="T36" fmla="*/ 101 w 202"/>
                <a:gd name="T37" fmla="*/ 136 h 144"/>
                <a:gd name="T38" fmla="*/ 118 w 202"/>
                <a:gd name="T39" fmla="*/ 136 h 144"/>
                <a:gd name="T40" fmla="*/ 134 w 202"/>
                <a:gd name="T41" fmla="*/ 144 h 144"/>
                <a:gd name="T42" fmla="*/ 143 w 202"/>
                <a:gd name="T43" fmla="*/ 144 h 144"/>
                <a:gd name="T44" fmla="*/ 143 w 202"/>
                <a:gd name="T45" fmla="*/ 144 h 144"/>
                <a:gd name="T46" fmla="*/ 168 w 202"/>
                <a:gd name="T47" fmla="*/ 128 h 144"/>
                <a:gd name="T48" fmla="*/ 193 w 202"/>
                <a:gd name="T49" fmla="*/ 120 h 144"/>
                <a:gd name="T50" fmla="*/ 202 w 202"/>
                <a:gd name="T51" fmla="*/ 88 h 144"/>
                <a:gd name="T52" fmla="*/ 185 w 202"/>
                <a:gd name="T53" fmla="*/ 72 h 14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02" h="144">
                  <a:moveTo>
                    <a:pt x="185" y="72"/>
                  </a:moveTo>
                  <a:lnTo>
                    <a:pt x="177" y="48"/>
                  </a:lnTo>
                  <a:lnTo>
                    <a:pt x="177" y="16"/>
                  </a:lnTo>
                  <a:lnTo>
                    <a:pt x="151" y="0"/>
                  </a:lnTo>
                  <a:lnTo>
                    <a:pt x="126" y="0"/>
                  </a:lnTo>
                  <a:lnTo>
                    <a:pt x="109" y="0"/>
                  </a:lnTo>
                  <a:lnTo>
                    <a:pt x="84" y="0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67" y="8"/>
                  </a:lnTo>
                  <a:lnTo>
                    <a:pt x="59" y="24"/>
                  </a:lnTo>
                  <a:lnTo>
                    <a:pt x="50" y="40"/>
                  </a:lnTo>
                  <a:lnTo>
                    <a:pt x="16" y="40"/>
                  </a:lnTo>
                  <a:lnTo>
                    <a:pt x="16" y="56"/>
                  </a:lnTo>
                  <a:lnTo>
                    <a:pt x="0" y="72"/>
                  </a:lnTo>
                  <a:lnTo>
                    <a:pt x="33" y="120"/>
                  </a:lnTo>
                  <a:lnTo>
                    <a:pt x="67" y="96"/>
                  </a:lnTo>
                  <a:lnTo>
                    <a:pt x="92" y="112"/>
                  </a:lnTo>
                  <a:lnTo>
                    <a:pt x="101" y="136"/>
                  </a:lnTo>
                  <a:lnTo>
                    <a:pt x="118" y="136"/>
                  </a:lnTo>
                  <a:lnTo>
                    <a:pt x="134" y="144"/>
                  </a:lnTo>
                  <a:lnTo>
                    <a:pt x="143" y="144"/>
                  </a:lnTo>
                  <a:lnTo>
                    <a:pt x="168" y="128"/>
                  </a:lnTo>
                  <a:lnTo>
                    <a:pt x="193" y="120"/>
                  </a:lnTo>
                  <a:lnTo>
                    <a:pt x="202" y="88"/>
                  </a:lnTo>
                  <a:lnTo>
                    <a:pt x="185" y="7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61" name="Freeform 13"/>
            <p:cNvSpPr>
              <a:spLocks/>
            </p:cNvSpPr>
            <p:nvPr/>
          </p:nvSpPr>
          <p:spPr bwMode="auto">
            <a:xfrm>
              <a:off x="2429" y="1536"/>
              <a:ext cx="666" cy="1016"/>
            </a:xfrm>
            <a:custGeom>
              <a:avLst/>
              <a:gdLst>
                <a:gd name="T0" fmla="*/ 337 w 666"/>
                <a:gd name="T1" fmla="*/ 96 h 1016"/>
                <a:gd name="T2" fmla="*/ 421 w 666"/>
                <a:gd name="T3" fmla="*/ 24 h 1016"/>
                <a:gd name="T4" fmla="*/ 270 w 666"/>
                <a:gd name="T5" fmla="*/ 24 h 1016"/>
                <a:gd name="T6" fmla="*/ 253 w 666"/>
                <a:gd name="T7" fmla="*/ 80 h 1016"/>
                <a:gd name="T8" fmla="*/ 202 w 666"/>
                <a:gd name="T9" fmla="*/ 136 h 1016"/>
                <a:gd name="T10" fmla="*/ 169 w 666"/>
                <a:gd name="T11" fmla="*/ 200 h 1016"/>
                <a:gd name="T12" fmla="*/ 202 w 666"/>
                <a:gd name="T13" fmla="*/ 232 h 1016"/>
                <a:gd name="T14" fmla="*/ 169 w 666"/>
                <a:gd name="T15" fmla="*/ 320 h 1016"/>
                <a:gd name="T16" fmla="*/ 186 w 666"/>
                <a:gd name="T17" fmla="*/ 344 h 1016"/>
                <a:gd name="T18" fmla="*/ 228 w 666"/>
                <a:gd name="T19" fmla="*/ 320 h 1016"/>
                <a:gd name="T20" fmla="*/ 186 w 666"/>
                <a:gd name="T21" fmla="*/ 424 h 1016"/>
                <a:gd name="T22" fmla="*/ 236 w 666"/>
                <a:gd name="T23" fmla="*/ 464 h 1016"/>
                <a:gd name="T24" fmla="*/ 303 w 666"/>
                <a:gd name="T25" fmla="*/ 448 h 1016"/>
                <a:gd name="T26" fmla="*/ 287 w 666"/>
                <a:gd name="T27" fmla="*/ 496 h 1016"/>
                <a:gd name="T28" fmla="*/ 329 w 666"/>
                <a:gd name="T29" fmla="*/ 576 h 1016"/>
                <a:gd name="T30" fmla="*/ 295 w 666"/>
                <a:gd name="T31" fmla="*/ 648 h 1016"/>
                <a:gd name="T32" fmla="*/ 202 w 666"/>
                <a:gd name="T33" fmla="*/ 624 h 1016"/>
                <a:gd name="T34" fmla="*/ 160 w 666"/>
                <a:gd name="T35" fmla="*/ 680 h 1016"/>
                <a:gd name="T36" fmla="*/ 211 w 666"/>
                <a:gd name="T37" fmla="*/ 744 h 1016"/>
                <a:gd name="T38" fmla="*/ 101 w 666"/>
                <a:gd name="T39" fmla="*/ 776 h 1016"/>
                <a:gd name="T40" fmla="*/ 101 w 666"/>
                <a:gd name="T41" fmla="*/ 808 h 1016"/>
                <a:gd name="T42" fmla="*/ 169 w 666"/>
                <a:gd name="T43" fmla="*/ 824 h 1016"/>
                <a:gd name="T44" fmla="*/ 219 w 666"/>
                <a:gd name="T45" fmla="*/ 864 h 1016"/>
                <a:gd name="T46" fmla="*/ 295 w 666"/>
                <a:gd name="T47" fmla="*/ 848 h 1016"/>
                <a:gd name="T48" fmla="*/ 228 w 666"/>
                <a:gd name="T49" fmla="*/ 896 h 1016"/>
                <a:gd name="T50" fmla="*/ 127 w 666"/>
                <a:gd name="T51" fmla="*/ 904 h 1016"/>
                <a:gd name="T52" fmla="*/ 0 w 666"/>
                <a:gd name="T53" fmla="*/ 984 h 1016"/>
                <a:gd name="T54" fmla="*/ 51 w 666"/>
                <a:gd name="T55" fmla="*/ 1016 h 1016"/>
                <a:gd name="T56" fmla="*/ 93 w 666"/>
                <a:gd name="T57" fmla="*/ 976 h 1016"/>
                <a:gd name="T58" fmla="*/ 219 w 666"/>
                <a:gd name="T59" fmla="*/ 960 h 1016"/>
                <a:gd name="T60" fmla="*/ 337 w 666"/>
                <a:gd name="T61" fmla="*/ 984 h 1016"/>
                <a:gd name="T62" fmla="*/ 421 w 666"/>
                <a:gd name="T63" fmla="*/ 968 h 1016"/>
                <a:gd name="T64" fmla="*/ 573 w 666"/>
                <a:gd name="T65" fmla="*/ 968 h 1016"/>
                <a:gd name="T66" fmla="*/ 624 w 666"/>
                <a:gd name="T67" fmla="*/ 928 h 1016"/>
                <a:gd name="T68" fmla="*/ 590 w 666"/>
                <a:gd name="T69" fmla="*/ 872 h 1016"/>
                <a:gd name="T70" fmla="*/ 649 w 666"/>
                <a:gd name="T71" fmla="*/ 840 h 1016"/>
                <a:gd name="T72" fmla="*/ 666 w 666"/>
                <a:gd name="T73" fmla="*/ 760 h 1016"/>
                <a:gd name="T74" fmla="*/ 539 w 666"/>
                <a:gd name="T75" fmla="*/ 728 h 1016"/>
                <a:gd name="T76" fmla="*/ 523 w 666"/>
                <a:gd name="T77" fmla="*/ 632 h 1016"/>
                <a:gd name="T78" fmla="*/ 539 w 666"/>
                <a:gd name="T79" fmla="*/ 576 h 1016"/>
                <a:gd name="T80" fmla="*/ 480 w 666"/>
                <a:gd name="T81" fmla="*/ 512 h 1016"/>
                <a:gd name="T82" fmla="*/ 455 w 666"/>
                <a:gd name="T83" fmla="*/ 392 h 1016"/>
                <a:gd name="T84" fmla="*/ 413 w 666"/>
                <a:gd name="T85" fmla="*/ 344 h 1016"/>
                <a:gd name="T86" fmla="*/ 337 w 666"/>
                <a:gd name="T87" fmla="*/ 320 h 1016"/>
                <a:gd name="T88" fmla="*/ 388 w 666"/>
                <a:gd name="T89" fmla="*/ 280 h 1016"/>
                <a:gd name="T90" fmla="*/ 447 w 666"/>
                <a:gd name="T91" fmla="*/ 224 h 1016"/>
                <a:gd name="T92" fmla="*/ 489 w 666"/>
                <a:gd name="T93" fmla="*/ 144 h 1016"/>
                <a:gd name="T94" fmla="*/ 379 w 666"/>
                <a:gd name="T95" fmla="*/ 120 h 101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666" h="1016">
                  <a:moveTo>
                    <a:pt x="329" y="128"/>
                  </a:moveTo>
                  <a:lnTo>
                    <a:pt x="354" y="104"/>
                  </a:lnTo>
                  <a:lnTo>
                    <a:pt x="337" y="96"/>
                  </a:lnTo>
                  <a:lnTo>
                    <a:pt x="388" y="64"/>
                  </a:lnTo>
                  <a:lnTo>
                    <a:pt x="413" y="56"/>
                  </a:lnTo>
                  <a:lnTo>
                    <a:pt x="421" y="24"/>
                  </a:lnTo>
                  <a:lnTo>
                    <a:pt x="320" y="16"/>
                  </a:lnTo>
                  <a:lnTo>
                    <a:pt x="287" y="0"/>
                  </a:lnTo>
                  <a:lnTo>
                    <a:pt x="270" y="24"/>
                  </a:lnTo>
                  <a:lnTo>
                    <a:pt x="253" y="40"/>
                  </a:lnTo>
                  <a:lnTo>
                    <a:pt x="245" y="56"/>
                  </a:lnTo>
                  <a:lnTo>
                    <a:pt x="253" y="80"/>
                  </a:lnTo>
                  <a:lnTo>
                    <a:pt x="219" y="88"/>
                  </a:lnTo>
                  <a:lnTo>
                    <a:pt x="202" y="104"/>
                  </a:lnTo>
                  <a:lnTo>
                    <a:pt x="202" y="136"/>
                  </a:lnTo>
                  <a:lnTo>
                    <a:pt x="202" y="160"/>
                  </a:lnTo>
                  <a:lnTo>
                    <a:pt x="186" y="184"/>
                  </a:lnTo>
                  <a:lnTo>
                    <a:pt x="169" y="200"/>
                  </a:lnTo>
                  <a:lnTo>
                    <a:pt x="135" y="248"/>
                  </a:lnTo>
                  <a:lnTo>
                    <a:pt x="160" y="256"/>
                  </a:lnTo>
                  <a:lnTo>
                    <a:pt x="202" y="232"/>
                  </a:lnTo>
                  <a:lnTo>
                    <a:pt x="186" y="264"/>
                  </a:lnTo>
                  <a:lnTo>
                    <a:pt x="177" y="296"/>
                  </a:lnTo>
                  <a:lnTo>
                    <a:pt x="169" y="320"/>
                  </a:lnTo>
                  <a:lnTo>
                    <a:pt x="143" y="376"/>
                  </a:lnTo>
                  <a:lnTo>
                    <a:pt x="169" y="376"/>
                  </a:lnTo>
                  <a:lnTo>
                    <a:pt x="186" y="344"/>
                  </a:lnTo>
                  <a:lnTo>
                    <a:pt x="202" y="304"/>
                  </a:lnTo>
                  <a:lnTo>
                    <a:pt x="211" y="328"/>
                  </a:lnTo>
                  <a:lnTo>
                    <a:pt x="228" y="320"/>
                  </a:lnTo>
                  <a:lnTo>
                    <a:pt x="219" y="344"/>
                  </a:lnTo>
                  <a:lnTo>
                    <a:pt x="228" y="360"/>
                  </a:lnTo>
                  <a:lnTo>
                    <a:pt x="186" y="424"/>
                  </a:lnTo>
                  <a:lnTo>
                    <a:pt x="194" y="472"/>
                  </a:lnTo>
                  <a:lnTo>
                    <a:pt x="202" y="440"/>
                  </a:lnTo>
                  <a:lnTo>
                    <a:pt x="236" y="464"/>
                  </a:lnTo>
                  <a:lnTo>
                    <a:pt x="253" y="456"/>
                  </a:lnTo>
                  <a:lnTo>
                    <a:pt x="278" y="464"/>
                  </a:lnTo>
                  <a:lnTo>
                    <a:pt x="303" y="448"/>
                  </a:lnTo>
                  <a:lnTo>
                    <a:pt x="329" y="456"/>
                  </a:lnTo>
                  <a:lnTo>
                    <a:pt x="295" y="480"/>
                  </a:lnTo>
                  <a:lnTo>
                    <a:pt x="287" y="496"/>
                  </a:lnTo>
                  <a:lnTo>
                    <a:pt x="312" y="544"/>
                  </a:lnTo>
                  <a:lnTo>
                    <a:pt x="329" y="544"/>
                  </a:lnTo>
                  <a:lnTo>
                    <a:pt x="329" y="576"/>
                  </a:lnTo>
                  <a:lnTo>
                    <a:pt x="320" y="576"/>
                  </a:lnTo>
                  <a:lnTo>
                    <a:pt x="312" y="632"/>
                  </a:lnTo>
                  <a:lnTo>
                    <a:pt x="295" y="648"/>
                  </a:lnTo>
                  <a:lnTo>
                    <a:pt x="287" y="640"/>
                  </a:lnTo>
                  <a:lnTo>
                    <a:pt x="236" y="640"/>
                  </a:lnTo>
                  <a:lnTo>
                    <a:pt x="202" y="624"/>
                  </a:lnTo>
                  <a:lnTo>
                    <a:pt x="186" y="632"/>
                  </a:lnTo>
                  <a:lnTo>
                    <a:pt x="202" y="648"/>
                  </a:lnTo>
                  <a:lnTo>
                    <a:pt x="160" y="680"/>
                  </a:lnTo>
                  <a:lnTo>
                    <a:pt x="177" y="688"/>
                  </a:lnTo>
                  <a:lnTo>
                    <a:pt x="202" y="680"/>
                  </a:lnTo>
                  <a:lnTo>
                    <a:pt x="211" y="744"/>
                  </a:lnTo>
                  <a:lnTo>
                    <a:pt x="169" y="760"/>
                  </a:lnTo>
                  <a:lnTo>
                    <a:pt x="143" y="768"/>
                  </a:lnTo>
                  <a:lnTo>
                    <a:pt x="101" y="776"/>
                  </a:lnTo>
                  <a:lnTo>
                    <a:pt x="84" y="784"/>
                  </a:lnTo>
                  <a:lnTo>
                    <a:pt x="93" y="792"/>
                  </a:lnTo>
                  <a:lnTo>
                    <a:pt x="101" y="808"/>
                  </a:lnTo>
                  <a:lnTo>
                    <a:pt x="135" y="824"/>
                  </a:lnTo>
                  <a:lnTo>
                    <a:pt x="152" y="808"/>
                  </a:lnTo>
                  <a:lnTo>
                    <a:pt x="169" y="824"/>
                  </a:lnTo>
                  <a:lnTo>
                    <a:pt x="160" y="840"/>
                  </a:lnTo>
                  <a:lnTo>
                    <a:pt x="194" y="840"/>
                  </a:lnTo>
                  <a:lnTo>
                    <a:pt x="219" y="864"/>
                  </a:lnTo>
                  <a:lnTo>
                    <a:pt x="261" y="864"/>
                  </a:lnTo>
                  <a:lnTo>
                    <a:pt x="278" y="856"/>
                  </a:lnTo>
                  <a:lnTo>
                    <a:pt x="295" y="848"/>
                  </a:lnTo>
                  <a:lnTo>
                    <a:pt x="270" y="872"/>
                  </a:lnTo>
                  <a:lnTo>
                    <a:pt x="261" y="888"/>
                  </a:lnTo>
                  <a:lnTo>
                    <a:pt x="228" y="896"/>
                  </a:lnTo>
                  <a:lnTo>
                    <a:pt x="160" y="888"/>
                  </a:lnTo>
                  <a:lnTo>
                    <a:pt x="152" y="896"/>
                  </a:lnTo>
                  <a:lnTo>
                    <a:pt x="127" y="904"/>
                  </a:lnTo>
                  <a:lnTo>
                    <a:pt x="110" y="928"/>
                  </a:lnTo>
                  <a:lnTo>
                    <a:pt x="42" y="976"/>
                  </a:lnTo>
                  <a:lnTo>
                    <a:pt x="0" y="984"/>
                  </a:lnTo>
                  <a:lnTo>
                    <a:pt x="9" y="992"/>
                  </a:lnTo>
                  <a:lnTo>
                    <a:pt x="34" y="992"/>
                  </a:lnTo>
                  <a:lnTo>
                    <a:pt x="51" y="1016"/>
                  </a:lnTo>
                  <a:lnTo>
                    <a:pt x="68" y="1008"/>
                  </a:lnTo>
                  <a:lnTo>
                    <a:pt x="68" y="992"/>
                  </a:lnTo>
                  <a:lnTo>
                    <a:pt x="93" y="976"/>
                  </a:lnTo>
                  <a:lnTo>
                    <a:pt x="143" y="976"/>
                  </a:lnTo>
                  <a:lnTo>
                    <a:pt x="169" y="1008"/>
                  </a:lnTo>
                  <a:lnTo>
                    <a:pt x="219" y="960"/>
                  </a:lnTo>
                  <a:lnTo>
                    <a:pt x="261" y="952"/>
                  </a:lnTo>
                  <a:lnTo>
                    <a:pt x="295" y="976"/>
                  </a:lnTo>
                  <a:lnTo>
                    <a:pt x="337" y="984"/>
                  </a:lnTo>
                  <a:lnTo>
                    <a:pt x="346" y="968"/>
                  </a:lnTo>
                  <a:lnTo>
                    <a:pt x="388" y="968"/>
                  </a:lnTo>
                  <a:lnTo>
                    <a:pt x="421" y="968"/>
                  </a:lnTo>
                  <a:lnTo>
                    <a:pt x="472" y="968"/>
                  </a:lnTo>
                  <a:lnTo>
                    <a:pt x="506" y="984"/>
                  </a:lnTo>
                  <a:lnTo>
                    <a:pt x="573" y="968"/>
                  </a:lnTo>
                  <a:lnTo>
                    <a:pt x="590" y="952"/>
                  </a:lnTo>
                  <a:lnTo>
                    <a:pt x="624" y="952"/>
                  </a:lnTo>
                  <a:lnTo>
                    <a:pt x="624" y="928"/>
                  </a:lnTo>
                  <a:lnTo>
                    <a:pt x="565" y="912"/>
                  </a:lnTo>
                  <a:lnTo>
                    <a:pt x="590" y="896"/>
                  </a:lnTo>
                  <a:lnTo>
                    <a:pt x="590" y="872"/>
                  </a:lnTo>
                  <a:lnTo>
                    <a:pt x="624" y="872"/>
                  </a:lnTo>
                  <a:lnTo>
                    <a:pt x="624" y="856"/>
                  </a:lnTo>
                  <a:lnTo>
                    <a:pt x="649" y="840"/>
                  </a:lnTo>
                  <a:lnTo>
                    <a:pt x="657" y="816"/>
                  </a:lnTo>
                  <a:lnTo>
                    <a:pt x="666" y="800"/>
                  </a:lnTo>
                  <a:lnTo>
                    <a:pt x="666" y="760"/>
                  </a:lnTo>
                  <a:lnTo>
                    <a:pt x="582" y="728"/>
                  </a:lnTo>
                  <a:lnTo>
                    <a:pt x="565" y="744"/>
                  </a:lnTo>
                  <a:lnTo>
                    <a:pt x="539" y="728"/>
                  </a:lnTo>
                  <a:lnTo>
                    <a:pt x="573" y="704"/>
                  </a:lnTo>
                  <a:lnTo>
                    <a:pt x="556" y="656"/>
                  </a:lnTo>
                  <a:lnTo>
                    <a:pt x="523" y="632"/>
                  </a:lnTo>
                  <a:lnTo>
                    <a:pt x="548" y="632"/>
                  </a:lnTo>
                  <a:lnTo>
                    <a:pt x="539" y="592"/>
                  </a:lnTo>
                  <a:lnTo>
                    <a:pt x="539" y="576"/>
                  </a:lnTo>
                  <a:lnTo>
                    <a:pt x="531" y="560"/>
                  </a:lnTo>
                  <a:lnTo>
                    <a:pt x="523" y="536"/>
                  </a:lnTo>
                  <a:lnTo>
                    <a:pt x="480" y="512"/>
                  </a:lnTo>
                  <a:lnTo>
                    <a:pt x="472" y="480"/>
                  </a:lnTo>
                  <a:lnTo>
                    <a:pt x="455" y="440"/>
                  </a:lnTo>
                  <a:lnTo>
                    <a:pt x="455" y="392"/>
                  </a:lnTo>
                  <a:lnTo>
                    <a:pt x="447" y="376"/>
                  </a:lnTo>
                  <a:lnTo>
                    <a:pt x="421" y="352"/>
                  </a:lnTo>
                  <a:lnTo>
                    <a:pt x="413" y="344"/>
                  </a:lnTo>
                  <a:lnTo>
                    <a:pt x="396" y="328"/>
                  </a:lnTo>
                  <a:lnTo>
                    <a:pt x="362" y="328"/>
                  </a:lnTo>
                  <a:lnTo>
                    <a:pt x="337" y="320"/>
                  </a:lnTo>
                  <a:lnTo>
                    <a:pt x="371" y="312"/>
                  </a:lnTo>
                  <a:lnTo>
                    <a:pt x="396" y="304"/>
                  </a:lnTo>
                  <a:lnTo>
                    <a:pt x="388" y="280"/>
                  </a:lnTo>
                  <a:lnTo>
                    <a:pt x="421" y="264"/>
                  </a:lnTo>
                  <a:lnTo>
                    <a:pt x="421" y="248"/>
                  </a:lnTo>
                  <a:lnTo>
                    <a:pt x="447" y="224"/>
                  </a:lnTo>
                  <a:lnTo>
                    <a:pt x="455" y="192"/>
                  </a:lnTo>
                  <a:lnTo>
                    <a:pt x="489" y="168"/>
                  </a:lnTo>
                  <a:lnTo>
                    <a:pt x="489" y="144"/>
                  </a:lnTo>
                  <a:lnTo>
                    <a:pt x="447" y="144"/>
                  </a:lnTo>
                  <a:lnTo>
                    <a:pt x="430" y="128"/>
                  </a:lnTo>
                  <a:lnTo>
                    <a:pt x="379" y="120"/>
                  </a:lnTo>
                  <a:lnTo>
                    <a:pt x="329" y="12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62" name="Freeform 14"/>
            <p:cNvSpPr>
              <a:spLocks/>
            </p:cNvSpPr>
            <p:nvPr/>
          </p:nvSpPr>
          <p:spPr bwMode="auto">
            <a:xfrm>
              <a:off x="1814" y="720"/>
              <a:ext cx="590" cy="424"/>
            </a:xfrm>
            <a:custGeom>
              <a:avLst/>
              <a:gdLst>
                <a:gd name="T0" fmla="*/ 101 w 590"/>
                <a:gd name="T1" fmla="*/ 320 h 424"/>
                <a:gd name="T2" fmla="*/ 135 w 590"/>
                <a:gd name="T3" fmla="*/ 384 h 424"/>
                <a:gd name="T4" fmla="*/ 202 w 590"/>
                <a:gd name="T5" fmla="*/ 424 h 424"/>
                <a:gd name="T6" fmla="*/ 253 w 590"/>
                <a:gd name="T7" fmla="*/ 424 h 424"/>
                <a:gd name="T8" fmla="*/ 287 w 590"/>
                <a:gd name="T9" fmla="*/ 416 h 424"/>
                <a:gd name="T10" fmla="*/ 346 w 590"/>
                <a:gd name="T11" fmla="*/ 424 h 424"/>
                <a:gd name="T12" fmla="*/ 430 w 590"/>
                <a:gd name="T13" fmla="*/ 392 h 424"/>
                <a:gd name="T14" fmla="*/ 463 w 590"/>
                <a:gd name="T15" fmla="*/ 400 h 424"/>
                <a:gd name="T16" fmla="*/ 506 w 590"/>
                <a:gd name="T17" fmla="*/ 376 h 424"/>
                <a:gd name="T18" fmla="*/ 556 w 590"/>
                <a:gd name="T19" fmla="*/ 352 h 424"/>
                <a:gd name="T20" fmla="*/ 590 w 590"/>
                <a:gd name="T21" fmla="*/ 272 h 424"/>
                <a:gd name="T22" fmla="*/ 565 w 590"/>
                <a:gd name="T23" fmla="*/ 256 h 424"/>
                <a:gd name="T24" fmla="*/ 556 w 590"/>
                <a:gd name="T25" fmla="*/ 224 h 424"/>
                <a:gd name="T26" fmla="*/ 565 w 590"/>
                <a:gd name="T27" fmla="*/ 192 h 424"/>
                <a:gd name="T28" fmla="*/ 573 w 590"/>
                <a:gd name="T29" fmla="*/ 160 h 424"/>
                <a:gd name="T30" fmla="*/ 531 w 590"/>
                <a:gd name="T31" fmla="*/ 160 h 424"/>
                <a:gd name="T32" fmla="*/ 506 w 590"/>
                <a:gd name="T33" fmla="*/ 120 h 424"/>
                <a:gd name="T34" fmla="*/ 480 w 590"/>
                <a:gd name="T35" fmla="*/ 144 h 424"/>
                <a:gd name="T36" fmla="*/ 472 w 590"/>
                <a:gd name="T37" fmla="*/ 160 h 424"/>
                <a:gd name="T38" fmla="*/ 447 w 590"/>
                <a:gd name="T39" fmla="*/ 152 h 424"/>
                <a:gd name="T40" fmla="*/ 413 w 590"/>
                <a:gd name="T41" fmla="*/ 160 h 424"/>
                <a:gd name="T42" fmla="*/ 405 w 590"/>
                <a:gd name="T43" fmla="*/ 128 h 424"/>
                <a:gd name="T44" fmla="*/ 379 w 590"/>
                <a:gd name="T45" fmla="*/ 128 h 424"/>
                <a:gd name="T46" fmla="*/ 371 w 590"/>
                <a:gd name="T47" fmla="*/ 152 h 424"/>
                <a:gd name="T48" fmla="*/ 354 w 590"/>
                <a:gd name="T49" fmla="*/ 112 h 424"/>
                <a:gd name="T50" fmla="*/ 312 w 590"/>
                <a:gd name="T51" fmla="*/ 120 h 424"/>
                <a:gd name="T52" fmla="*/ 295 w 590"/>
                <a:gd name="T53" fmla="*/ 144 h 424"/>
                <a:gd name="T54" fmla="*/ 278 w 590"/>
                <a:gd name="T55" fmla="*/ 144 h 424"/>
                <a:gd name="T56" fmla="*/ 270 w 590"/>
                <a:gd name="T57" fmla="*/ 88 h 424"/>
                <a:gd name="T58" fmla="*/ 253 w 590"/>
                <a:gd name="T59" fmla="*/ 96 h 424"/>
                <a:gd name="T60" fmla="*/ 244 w 590"/>
                <a:gd name="T61" fmla="*/ 152 h 424"/>
                <a:gd name="T62" fmla="*/ 228 w 590"/>
                <a:gd name="T63" fmla="*/ 152 h 424"/>
                <a:gd name="T64" fmla="*/ 219 w 590"/>
                <a:gd name="T65" fmla="*/ 128 h 424"/>
                <a:gd name="T66" fmla="*/ 177 w 590"/>
                <a:gd name="T67" fmla="*/ 160 h 424"/>
                <a:gd name="T68" fmla="*/ 185 w 590"/>
                <a:gd name="T69" fmla="*/ 112 h 424"/>
                <a:gd name="T70" fmla="*/ 211 w 590"/>
                <a:gd name="T71" fmla="*/ 88 h 424"/>
                <a:gd name="T72" fmla="*/ 185 w 590"/>
                <a:gd name="T73" fmla="*/ 16 h 424"/>
                <a:gd name="T74" fmla="*/ 143 w 590"/>
                <a:gd name="T75" fmla="*/ 0 h 424"/>
                <a:gd name="T76" fmla="*/ 152 w 590"/>
                <a:gd name="T77" fmla="*/ 64 h 424"/>
                <a:gd name="T78" fmla="*/ 118 w 590"/>
                <a:gd name="T79" fmla="*/ 16 h 424"/>
                <a:gd name="T80" fmla="*/ 93 w 590"/>
                <a:gd name="T81" fmla="*/ 32 h 424"/>
                <a:gd name="T82" fmla="*/ 76 w 590"/>
                <a:gd name="T83" fmla="*/ 48 h 424"/>
                <a:gd name="T84" fmla="*/ 93 w 590"/>
                <a:gd name="T85" fmla="*/ 64 h 424"/>
                <a:gd name="T86" fmla="*/ 59 w 590"/>
                <a:gd name="T87" fmla="*/ 48 h 424"/>
                <a:gd name="T88" fmla="*/ 51 w 590"/>
                <a:gd name="T89" fmla="*/ 64 h 424"/>
                <a:gd name="T90" fmla="*/ 25 w 590"/>
                <a:gd name="T91" fmla="*/ 64 h 424"/>
                <a:gd name="T92" fmla="*/ 42 w 590"/>
                <a:gd name="T93" fmla="*/ 88 h 424"/>
                <a:gd name="T94" fmla="*/ 101 w 590"/>
                <a:gd name="T95" fmla="*/ 96 h 424"/>
                <a:gd name="T96" fmla="*/ 143 w 590"/>
                <a:gd name="T97" fmla="*/ 128 h 424"/>
                <a:gd name="T98" fmla="*/ 110 w 590"/>
                <a:gd name="T99" fmla="*/ 144 h 424"/>
                <a:gd name="T100" fmla="*/ 126 w 590"/>
                <a:gd name="T101" fmla="*/ 160 h 424"/>
                <a:gd name="T102" fmla="*/ 143 w 590"/>
                <a:gd name="T103" fmla="*/ 176 h 424"/>
                <a:gd name="T104" fmla="*/ 126 w 590"/>
                <a:gd name="T105" fmla="*/ 184 h 424"/>
                <a:gd name="T106" fmla="*/ 8 w 590"/>
                <a:gd name="T107" fmla="*/ 144 h 424"/>
                <a:gd name="T108" fmla="*/ 0 w 590"/>
                <a:gd name="T109" fmla="*/ 168 h 424"/>
                <a:gd name="T110" fmla="*/ 93 w 590"/>
                <a:gd name="T111" fmla="*/ 192 h 424"/>
                <a:gd name="T112" fmla="*/ 84 w 590"/>
                <a:gd name="T113" fmla="*/ 216 h 424"/>
                <a:gd name="T114" fmla="*/ 84 w 590"/>
                <a:gd name="T115" fmla="*/ 256 h 424"/>
                <a:gd name="T116" fmla="*/ 67 w 590"/>
                <a:gd name="T117" fmla="*/ 280 h 424"/>
                <a:gd name="T118" fmla="*/ 34 w 590"/>
                <a:gd name="T119" fmla="*/ 280 h 424"/>
                <a:gd name="T120" fmla="*/ 17 w 590"/>
                <a:gd name="T121" fmla="*/ 296 h 424"/>
                <a:gd name="T122" fmla="*/ 101 w 590"/>
                <a:gd name="T123" fmla="*/ 320 h 42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0" h="424">
                  <a:moveTo>
                    <a:pt x="101" y="320"/>
                  </a:moveTo>
                  <a:lnTo>
                    <a:pt x="135" y="384"/>
                  </a:lnTo>
                  <a:lnTo>
                    <a:pt x="202" y="424"/>
                  </a:lnTo>
                  <a:lnTo>
                    <a:pt x="253" y="424"/>
                  </a:lnTo>
                  <a:lnTo>
                    <a:pt x="287" y="416"/>
                  </a:lnTo>
                  <a:lnTo>
                    <a:pt x="346" y="424"/>
                  </a:lnTo>
                  <a:lnTo>
                    <a:pt x="430" y="392"/>
                  </a:lnTo>
                  <a:lnTo>
                    <a:pt x="463" y="400"/>
                  </a:lnTo>
                  <a:lnTo>
                    <a:pt x="506" y="376"/>
                  </a:lnTo>
                  <a:lnTo>
                    <a:pt x="556" y="352"/>
                  </a:lnTo>
                  <a:lnTo>
                    <a:pt x="590" y="272"/>
                  </a:lnTo>
                  <a:lnTo>
                    <a:pt x="565" y="256"/>
                  </a:lnTo>
                  <a:lnTo>
                    <a:pt x="556" y="224"/>
                  </a:lnTo>
                  <a:lnTo>
                    <a:pt x="565" y="192"/>
                  </a:lnTo>
                  <a:lnTo>
                    <a:pt x="573" y="160"/>
                  </a:lnTo>
                  <a:lnTo>
                    <a:pt x="531" y="160"/>
                  </a:lnTo>
                  <a:lnTo>
                    <a:pt x="506" y="120"/>
                  </a:lnTo>
                  <a:lnTo>
                    <a:pt x="480" y="144"/>
                  </a:lnTo>
                  <a:lnTo>
                    <a:pt x="472" y="160"/>
                  </a:lnTo>
                  <a:lnTo>
                    <a:pt x="447" y="152"/>
                  </a:lnTo>
                  <a:lnTo>
                    <a:pt x="413" y="160"/>
                  </a:lnTo>
                  <a:lnTo>
                    <a:pt x="405" y="128"/>
                  </a:lnTo>
                  <a:lnTo>
                    <a:pt x="379" y="128"/>
                  </a:lnTo>
                  <a:lnTo>
                    <a:pt x="371" y="152"/>
                  </a:lnTo>
                  <a:lnTo>
                    <a:pt x="354" y="112"/>
                  </a:lnTo>
                  <a:lnTo>
                    <a:pt x="312" y="120"/>
                  </a:lnTo>
                  <a:lnTo>
                    <a:pt x="295" y="144"/>
                  </a:lnTo>
                  <a:lnTo>
                    <a:pt x="278" y="144"/>
                  </a:lnTo>
                  <a:lnTo>
                    <a:pt x="270" y="88"/>
                  </a:lnTo>
                  <a:lnTo>
                    <a:pt x="253" y="96"/>
                  </a:lnTo>
                  <a:lnTo>
                    <a:pt x="244" y="152"/>
                  </a:lnTo>
                  <a:lnTo>
                    <a:pt x="228" y="152"/>
                  </a:lnTo>
                  <a:lnTo>
                    <a:pt x="219" y="128"/>
                  </a:lnTo>
                  <a:lnTo>
                    <a:pt x="177" y="160"/>
                  </a:lnTo>
                  <a:lnTo>
                    <a:pt x="185" y="112"/>
                  </a:lnTo>
                  <a:lnTo>
                    <a:pt x="211" y="88"/>
                  </a:lnTo>
                  <a:lnTo>
                    <a:pt x="185" y="16"/>
                  </a:lnTo>
                  <a:lnTo>
                    <a:pt x="143" y="0"/>
                  </a:lnTo>
                  <a:lnTo>
                    <a:pt x="152" y="64"/>
                  </a:lnTo>
                  <a:lnTo>
                    <a:pt x="118" y="16"/>
                  </a:lnTo>
                  <a:lnTo>
                    <a:pt x="93" y="32"/>
                  </a:lnTo>
                  <a:lnTo>
                    <a:pt x="76" y="48"/>
                  </a:lnTo>
                  <a:lnTo>
                    <a:pt x="93" y="64"/>
                  </a:lnTo>
                  <a:lnTo>
                    <a:pt x="59" y="48"/>
                  </a:lnTo>
                  <a:lnTo>
                    <a:pt x="51" y="64"/>
                  </a:lnTo>
                  <a:lnTo>
                    <a:pt x="25" y="64"/>
                  </a:lnTo>
                  <a:lnTo>
                    <a:pt x="42" y="88"/>
                  </a:lnTo>
                  <a:lnTo>
                    <a:pt x="101" y="96"/>
                  </a:lnTo>
                  <a:lnTo>
                    <a:pt x="143" y="128"/>
                  </a:lnTo>
                  <a:lnTo>
                    <a:pt x="110" y="144"/>
                  </a:lnTo>
                  <a:lnTo>
                    <a:pt x="126" y="160"/>
                  </a:lnTo>
                  <a:lnTo>
                    <a:pt x="143" y="176"/>
                  </a:lnTo>
                  <a:lnTo>
                    <a:pt x="126" y="184"/>
                  </a:lnTo>
                  <a:lnTo>
                    <a:pt x="8" y="144"/>
                  </a:lnTo>
                  <a:lnTo>
                    <a:pt x="0" y="168"/>
                  </a:lnTo>
                  <a:lnTo>
                    <a:pt x="93" y="192"/>
                  </a:lnTo>
                  <a:lnTo>
                    <a:pt x="84" y="216"/>
                  </a:lnTo>
                  <a:lnTo>
                    <a:pt x="84" y="256"/>
                  </a:lnTo>
                  <a:lnTo>
                    <a:pt x="67" y="280"/>
                  </a:lnTo>
                  <a:lnTo>
                    <a:pt x="34" y="280"/>
                  </a:lnTo>
                  <a:lnTo>
                    <a:pt x="17" y="296"/>
                  </a:lnTo>
                  <a:lnTo>
                    <a:pt x="101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63" name="Freeform 15"/>
            <p:cNvSpPr>
              <a:spLocks/>
            </p:cNvSpPr>
            <p:nvPr/>
          </p:nvSpPr>
          <p:spPr bwMode="auto">
            <a:xfrm>
              <a:off x="3752" y="1984"/>
              <a:ext cx="67" cy="64"/>
            </a:xfrm>
            <a:custGeom>
              <a:avLst/>
              <a:gdLst>
                <a:gd name="T0" fmla="*/ 0 w 67"/>
                <a:gd name="T1" fmla="*/ 24 h 64"/>
                <a:gd name="T2" fmla="*/ 17 w 67"/>
                <a:gd name="T3" fmla="*/ 56 h 64"/>
                <a:gd name="T4" fmla="*/ 51 w 67"/>
                <a:gd name="T5" fmla="*/ 64 h 64"/>
                <a:gd name="T6" fmla="*/ 67 w 67"/>
                <a:gd name="T7" fmla="*/ 48 h 64"/>
                <a:gd name="T8" fmla="*/ 59 w 67"/>
                <a:gd name="T9" fmla="*/ 0 h 64"/>
                <a:gd name="T10" fmla="*/ 0 w 67"/>
                <a:gd name="T11" fmla="*/ 8 h 64"/>
                <a:gd name="T12" fmla="*/ 0 w 67"/>
                <a:gd name="T13" fmla="*/ 24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7" h="64">
                  <a:moveTo>
                    <a:pt x="0" y="24"/>
                  </a:moveTo>
                  <a:lnTo>
                    <a:pt x="17" y="56"/>
                  </a:lnTo>
                  <a:lnTo>
                    <a:pt x="51" y="64"/>
                  </a:lnTo>
                  <a:lnTo>
                    <a:pt x="67" y="48"/>
                  </a:lnTo>
                  <a:lnTo>
                    <a:pt x="59" y="0"/>
                  </a:lnTo>
                  <a:lnTo>
                    <a:pt x="0" y="8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64" name="Freeform 16"/>
            <p:cNvSpPr>
              <a:spLocks/>
            </p:cNvSpPr>
            <p:nvPr/>
          </p:nvSpPr>
          <p:spPr bwMode="auto">
            <a:xfrm>
              <a:off x="1814" y="720"/>
              <a:ext cx="590" cy="424"/>
            </a:xfrm>
            <a:custGeom>
              <a:avLst/>
              <a:gdLst>
                <a:gd name="T0" fmla="*/ 101 w 590"/>
                <a:gd name="T1" fmla="*/ 320 h 424"/>
                <a:gd name="T2" fmla="*/ 135 w 590"/>
                <a:gd name="T3" fmla="*/ 384 h 424"/>
                <a:gd name="T4" fmla="*/ 202 w 590"/>
                <a:gd name="T5" fmla="*/ 424 h 424"/>
                <a:gd name="T6" fmla="*/ 253 w 590"/>
                <a:gd name="T7" fmla="*/ 424 h 424"/>
                <a:gd name="T8" fmla="*/ 287 w 590"/>
                <a:gd name="T9" fmla="*/ 416 h 424"/>
                <a:gd name="T10" fmla="*/ 346 w 590"/>
                <a:gd name="T11" fmla="*/ 424 h 424"/>
                <a:gd name="T12" fmla="*/ 430 w 590"/>
                <a:gd name="T13" fmla="*/ 392 h 424"/>
                <a:gd name="T14" fmla="*/ 463 w 590"/>
                <a:gd name="T15" fmla="*/ 400 h 424"/>
                <a:gd name="T16" fmla="*/ 506 w 590"/>
                <a:gd name="T17" fmla="*/ 376 h 424"/>
                <a:gd name="T18" fmla="*/ 556 w 590"/>
                <a:gd name="T19" fmla="*/ 352 h 424"/>
                <a:gd name="T20" fmla="*/ 590 w 590"/>
                <a:gd name="T21" fmla="*/ 272 h 424"/>
                <a:gd name="T22" fmla="*/ 565 w 590"/>
                <a:gd name="T23" fmla="*/ 256 h 424"/>
                <a:gd name="T24" fmla="*/ 556 w 590"/>
                <a:gd name="T25" fmla="*/ 224 h 424"/>
                <a:gd name="T26" fmla="*/ 565 w 590"/>
                <a:gd name="T27" fmla="*/ 192 h 424"/>
                <a:gd name="T28" fmla="*/ 573 w 590"/>
                <a:gd name="T29" fmla="*/ 160 h 424"/>
                <a:gd name="T30" fmla="*/ 531 w 590"/>
                <a:gd name="T31" fmla="*/ 160 h 424"/>
                <a:gd name="T32" fmla="*/ 506 w 590"/>
                <a:gd name="T33" fmla="*/ 120 h 424"/>
                <a:gd name="T34" fmla="*/ 480 w 590"/>
                <a:gd name="T35" fmla="*/ 144 h 424"/>
                <a:gd name="T36" fmla="*/ 472 w 590"/>
                <a:gd name="T37" fmla="*/ 160 h 424"/>
                <a:gd name="T38" fmla="*/ 447 w 590"/>
                <a:gd name="T39" fmla="*/ 152 h 424"/>
                <a:gd name="T40" fmla="*/ 413 w 590"/>
                <a:gd name="T41" fmla="*/ 160 h 424"/>
                <a:gd name="T42" fmla="*/ 405 w 590"/>
                <a:gd name="T43" fmla="*/ 128 h 424"/>
                <a:gd name="T44" fmla="*/ 379 w 590"/>
                <a:gd name="T45" fmla="*/ 128 h 424"/>
                <a:gd name="T46" fmla="*/ 371 w 590"/>
                <a:gd name="T47" fmla="*/ 152 h 424"/>
                <a:gd name="T48" fmla="*/ 354 w 590"/>
                <a:gd name="T49" fmla="*/ 112 h 424"/>
                <a:gd name="T50" fmla="*/ 312 w 590"/>
                <a:gd name="T51" fmla="*/ 120 h 424"/>
                <a:gd name="T52" fmla="*/ 295 w 590"/>
                <a:gd name="T53" fmla="*/ 144 h 424"/>
                <a:gd name="T54" fmla="*/ 278 w 590"/>
                <a:gd name="T55" fmla="*/ 144 h 424"/>
                <a:gd name="T56" fmla="*/ 270 w 590"/>
                <a:gd name="T57" fmla="*/ 88 h 424"/>
                <a:gd name="T58" fmla="*/ 253 w 590"/>
                <a:gd name="T59" fmla="*/ 96 h 424"/>
                <a:gd name="T60" fmla="*/ 244 w 590"/>
                <a:gd name="T61" fmla="*/ 152 h 424"/>
                <a:gd name="T62" fmla="*/ 228 w 590"/>
                <a:gd name="T63" fmla="*/ 152 h 424"/>
                <a:gd name="T64" fmla="*/ 219 w 590"/>
                <a:gd name="T65" fmla="*/ 128 h 424"/>
                <a:gd name="T66" fmla="*/ 177 w 590"/>
                <a:gd name="T67" fmla="*/ 160 h 424"/>
                <a:gd name="T68" fmla="*/ 185 w 590"/>
                <a:gd name="T69" fmla="*/ 112 h 424"/>
                <a:gd name="T70" fmla="*/ 211 w 590"/>
                <a:gd name="T71" fmla="*/ 88 h 424"/>
                <a:gd name="T72" fmla="*/ 185 w 590"/>
                <a:gd name="T73" fmla="*/ 16 h 424"/>
                <a:gd name="T74" fmla="*/ 143 w 590"/>
                <a:gd name="T75" fmla="*/ 0 h 424"/>
                <a:gd name="T76" fmla="*/ 152 w 590"/>
                <a:gd name="T77" fmla="*/ 64 h 424"/>
                <a:gd name="T78" fmla="*/ 118 w 590"/>
                <a:gd name="T79" fmla="*/ 16 h 424"/>
                <a:gd name="T80" fmla="*/ 93 w 590"/>
                <a:gd name="T81" fmla="*/ 32 h 424"/>
                <a:gd name="T82" fmla="*/ 76 w 590"/>
                <a:gd name="T83" fmla="*/ 48 h 424"/>
                <a:gd name="T84" fmla="*/ 93 w 590"/>
                <a:gd name="T85" fmla="*/ 64 h 424"/>
                <a:gd name="T86" fmla="*/ 59 w 590"/>
                <a:gd name="T87" fmla="*/ 48 h 424"/>
                <a:gd name="T88" fmla="*/ 51 w 590"/>
                <a:gd name="T89" fmla="*/ 64 h 424"/>
                <a:gd name="T90" fmla="*/ 25 w 590"/>
                <a:gd name="T91" fmla="*/ 64 h 424"/>
                <a:gd name="T92" fmla="*/ 42 w 590"/>
                <a:gd name="T93" fmla="*/ 88 h 424"/>
                <a:gd name="T94" fmla="*/ 101 w 590"/>
                <a:gd name="T95" fmla="*/ 96 h 424"/>
                <a:gd name="T96" fmla="*/ 143 w 590"/>
                <a:gd name="T97" fmla="*/ 128 h 424"/>
                <a:gd name="T98" fmla="*/ 110 w 590"/>
                <a:gd name="T99" fmla="*/ 144 h 424"/>
                <a:gd name="T100" fmla="*/ 126 w 590"/>
                <a:gd name="T101" fmla="*/ 160 h 424"/>
                <a:gd name="T102" fmla="*/ 143 w 590"/>
                <a:gd name="T103" fmla="*/ 176 h 424"/>
                <a:gd name="T104" fmla="*/ 126 w 590"/>
                <a:gd name="T105" fmla="*/ 184 h 424"/>
                <a:gd name="T106" fmla="*/ 8 w 590"/>
                <a:gd name="T107" fmla="*/ 144 h 424"/>
                <a:gd name="T108" fmla="*/ 0 w 590"/>
                <a:gd name="T109" fmla="*/ 168 h 424"/>
                <a:gd name="T110" fmla="*/ 93 w 590"/>
                <a:gd name="T111" fmla="*/ 192 h 424"/>
                <a:gd name="T112" fmla="*/ 84 w 590"/>
                <a:gd name="T113" fmla="*/ 216 h 424"/>
                <a:gd name="T114" fmla="*/ 84 w 590"/>
                <a:gd name="T115" fmla="*/ 256 h 424"/>
                <a:gd name="T116" fmla="*/ 67 w 590"/>
                <a:gd name="T117" fmla="*/ 280 h 424"/>
                <a:gd name="T118" fmla="*/ 34 w 590"/>
                <a:gd name="T119" fmla="*/ 280 h 424"/>
                <a:gd name="T120" fmla="*/ 17 w 590"/>
                <a:gd name="T121" fmla="*/ 296 h 424"/>
                <a:gd name="T122" fmla="*/ 101 w 590"/>
                <a:gd name="T123" fmla="*/ 320 h 42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0" h="424">
                  <a:moveTo>
                    <a:pt x="101" y="320"/>
                  </a:moveTo>
                  <a:lnTo>
                    <a:pt x="135" y="384"/>
                  </a:lnTo>
                  <a:lnTo>
                    <a:pt x="202" y="424"/>
                  </a:lnTo>
                  <a:lnTo>
                    <a:pt x="253" y="424"/>
                  </a:lnTo>
                  <a:lnTo>
                    <a:pt x="287" y="416"/>
                  </a:lnTo>
                  <a:lnTo>
                    <a:pt x="346" y="424"/>
                  </a:lnTo>
                  <a:lnTo>
                    <a:pt x="430" y="392"/>
                  </a:lnTo>
                  <a:lnTo>
                    <a:pt x="463" y="400"/>
                  </a:lnTo>
                  <a:lnTo>
                    <a:pt x="506" y="376"/>
                  </a:lnTo>
                  <a:lnTo>
                    <a:pt x="556" y="352"/>
                  </a:lnTo>
                  <a:lnTo>
                    <a:pt x="590" y="272"/>
                  </a:lnTo>
                  <a:lnTo>
                    <a:pt x="565" y="256"/>
                  </a:lnTo>
                  <a:lnTo>
                    <a:pt x="556" y="224"/>
                  </a:lnTo>
                  <a:lnTo>
                    <a:pt x="565" y="192"/>
                  </a:lnTo>
                  <a:lnTo>
                    <a:pt x="573" y="160"/>
                  </a:lnTo>
                  <a:lnTo>
                    <a:pt x="531" y="160"/>
                  </a:lnTo>
                  <a:lnTo>
                    <a:pt x="506" y="120"/>
                  </a:lnTo>
                  <a:lnTo>
                    <a:pt x="480" y="144"/>
                  </a:lnTo>
                  <a:lnTo>
                    <a:pt x="472" y="160"/>
                  </a:lnTo>
                  <a:lnTo>
                    <a:pt x="447" y="152"/>
                  </a:lnTo>
                  <a:lnTo>
                    <a:pt x="413" y="160"/>
                  </a:lnTo>
                  <a:lnTo>
                    <a:pt x="405" y="128"/>
                  </a:lnTo>
                  <a:lnTo>
                    <a:pt x="379" y="128"/>
                  </a:lnTo>
                  <a:lnTo>
                    <a:pt x="371" y="152"/>
                  </a:lnTo>
                  <a:lnTo>
                    <a:pt x="354" y="112"/>
                  </a:lnTo>
                  <a:lnTo>
                    <a:pt x="312" y="120"/>
                  </a:lnTo>
                  <a:lnTo>
                    <a:pt x="295" y="144"/>
                  </a:lnTo>
                  <a:lnTo>
                    <a:pt x="278" y="144"/>
                  </a:lnTo>
                  <a:lnTo>
                    <a:pt x="270" y="88"/>
                  </a:lnTo>
                  <a:lnTo>
                    <a:pt x="253" y="96"/>
                  </a:lnTo>
                  <a:lnTo>
                    <a:pt x="244" y="152"/>
                  </a:lnTo>
                  <a:lnTo>
                    <a:pt x="228" y="152"/>
                  </a:lnTo>
                  <a:lnTo>
                    <a:pt x="219" y="128"/>
                  </a:lnTo>
                  <a:lnTo>
                    <a:pt x="177" y="160"/>
                  </a:lnTo>
                  <a:lnTo>
                    <a:pt x="185" y="112"/>
                  </a:lnTo>
                  <a:lnTo>
                    <a:pt x="211" y="88"/>
                  </a:lnTo>
                  <a:lnTo>
                    <a:pt x="185" y="16"/>
                  </a:lnTo>
                  <a:lnTo>
                    <a:pt x="143" y="0"/>
                  </a:lnTo>
                  <a:lnTo>
                    <a:pt x="152" y="64"/>
                  </a:lnTo>
                  <a:lnTo>
                    <a:pt x="118" y="16"/>
                  </a:lnTo>
                  <a:lnTo>
                    <a:pt x="93" y="32"/>
                  </a:lnTo>
                  <a:lnTo>
                    <a:pt x="76" y="48"/>
                  </a:lnTo>
                  <a:lnTo>
                    <a:pt x="93" y="64"/>
                  </a:lnTo>
                  <a:lnTo>
                    <a:pt x="59" y="48"/>
                  </a:lnTo>
                  <a:lnTo>
                    <a:pt x="51" y="64"/>
                  </a:lnTo>
                  <a:lnTo>
                    <a:pt x="25" y="64"/>
                  </a:lnTo>
                  <a:lnTo>
                    <a:pt x="42" y="88"/>
                  </a:lnTo>
                  <a:lnTo>
                    <a:pt x="101" y="96"/>
                  </a:lnTo>
                  <a:lnTo>
                    <a:pt x="143" y="128"/>
                  </a:lnTo>
                  <a:lnTo>
                    <a:pt x="110" y="144"/>
                  </a:lnTo>
                  <a:lnTo>
                    <a:pt x="126" y="160"/>
                  </a:lnTo>
                  <a:lnTo>
                    <a:pt x="143" y="176"/>
                  </a:lnTo>
                  <a:lnTo>
                    <a:pt x="126" y="184"/>
                  </a:lnTo>
                  <a:lnTo>
                    <a:pt x="8" y="144"/>
                  </a:lnTo>
                  <a:lnTo>
                    <a:pt x="0" y="168"/>
                  </a:lnTo>
                  <a:lnTo>
                    <a:pt x="93" y="192"/>
                  </a:lnTo>
                  <a:lnTo>
                    <a:pt x="84" y="216"/>
                  </a:lnTo>
                  <a:lnTo>
                    <a:pt x="84" y="256"/>
                  </a:lnTo>
                  <a:lnTo>
                    <a:pt x="67" y="280"/>
                  </a:lnTo>
                  <a:lnTo>
                    <a:pt x="34" y="280"/>
                  </a:lnTo>
                  <a:lnTo>
                    <a:pt x="17" y="296"/>
                  </a:lnTo>
                  <a:lnTo>
                    <a:pt x="101" y="3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65" name="Freeform 17"/>
            <p:cNvSpPr>
              <a:spLocks/>
            </p:cNvSpPr>
            <p:nvPr/>
          </p:nvSpPr>
          <p:spPr bwMode="auto">
            <a:xfrm>
              <a:off x="3752" y="1984"/>
              <a:ext cx="67" cy="64"/>
            </a:xfrm>
            <a:custGeom>
              <a:avLst/>
              <a:gdLst>
                <a:gd name="T0" fmla="*/ 0 w 67"/>
                <a:gd name="T1" fmla="*/ 24 h 64"/>
                <a:gd name="T2" fmla="*/ 17 w 67"/>
                <a:gd name="T3" fmla="*/ 56 h 64"/>
                <a:gd name="T4" fmla="*/ 51 w 67"/>
                <a:gd name="T5" fmla="*/ 64 h 64"/>
                <a:gd name="T6" fmla="*/ 67 w 67"/>
                <a:gd name="T7" fmla="*/ 48 h 64"/>
                <a:gd name="T8" fmla="*/ 59 w 67"/>
                <a:gd name="T9" fmla="*/ 0 h 64"/>
                <a:gd name="T10" fmla="*/ 0 w 67"/>
                <a:gd name="T11" fmla="*/ 8 h 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7" h="64">
                  <a:moveTo>
                    <a:pt x="0" y="24"/>
                  </a:moveTo>
                  <a:lnTo>
                    <a:pt x="17" y="56"/>
                  </a:lnTo>
                  <a:lnTo>
                    <a:pt x="51" y="64"/>
                  </a:lnTo>
                  <a:lnTo>
                    <a:pt x="67" y="48"/>
                  </a:lnTo>
                  <a:lnTo>
                    <a:pt x="59" y="0"/>
                  </a:lnTo>
                  <a:lnTo>
                    <a:pt x="0" y="8"/>
                  </a:lnTo>
                </a:path>
              </a:pathLst>
            </a:custGeom>
            <a:grp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66" name="Freeform 18"/>
            <p:cNvSpPr>
              <a:spLocks/>
            </p:cNvSpPr>
            <p:nvPr/>
          </p:nvSpPr>
          <p:spPr bwMode="auto">
            <a:xfrm>
              <a:off x="3752" y="1984"/>
              <a:ext cx="67" cy="64"/>
            </a:xfrm>
            <a:custGeom>
              <a:avLst/>
              <a:gdLst>
                <a:gd name="T0" fmla="*/ 0 w 67"/>
                <a:gd name="T1" fmla="*/ 24 h 64"/>
                <a:gd name="T2" fmla="*/ 17 w 67"/>
                <a:gd name="T3" fmla="*/ 56 h 64"/>
                <a:gd name="T4" fmla="*/ 51 w 67"/>
                <a:gd name="T5" fmla="*/ 64 h 64"/>
                <a:gd name="T6" fmla="*/ 67 w 67"/>
                <a:gd name="T7" fmla="*/ 48 h 64"/>
                <a:gd name="T8" fmla="*/ 59 w 67"/>
                <a:gd name="T9" fmla="*/ 0 h 64"/>
                <a:gd name="T10" fmla="*/ 0 w 67"/>
                <a:gd name="T11" fmla="*/ 8 h 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7" h="64">
                  <a:moveTo>
                    <a:pt x="0" y="24"/>
                  </a:moveTo>
                  <a:lnTo>
                    <a:pt x="17" y="56"/>
                  </a:lnTo>
                  <a:lnTo>
                    <a:pt x="51" y="64"/>
                  </a:lnTo>
                  <a:lnTo>
                    <a:pt x="67" y="48"/>
                  </a:lnTo>
                  <a:lnTo>
                    <a:pt x="59" y="0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67" name="Freeform 19"/>
            <p:cNvSpPr>
              <a:spLocks/>
            </p:cNvSpPr>
            <p:nvPr/>
          </p:nvSpPr>
          <p:spPr bwMode="auto">
            <a:xfrm>
              <a:off x="3845" y="1920"/>
              <a:ext cx="109" cy="176"/>
            </a:xfrm>
            <a:custGeom>
              <a:avLst/>
              <a:gdLst>
                <a:gd name="T0" fmla="*/ 0 w 109"/>
                <a:gd name="T1" fmla="*/ 168 h 176"/>
                <a:gd name="T2" fmla="*/ 50 w 109"/>
                <a:gd name="T3" fmla="*/ 176 h 176"/>
                <a:gd name="T4" fmla="*/ 76 w 109"/>
                <a:gd name="T5" fmla="*/ 144 h 176"/>
                <a:gd name="T6" fmla="*/ 76 w 109"/>
                <a:gd name="T7" fmla="*/ 112 h 176"/>
                <a:gd name="T8" fmla="*/ 109 w 109"/>
                <a:gd name="T9" fmla="*/ 96 h 176"/>
                <a:gd name="T10" fmla="*/ 92 w 109"/>
                <a:gd name="T11" fmla="*/ 72 h 176"/>
                <a:gd name="T12" fmla="*/ 109 w 109"/>
                <a:gd name="T13" fmla="*/ 64 h 176"/>
                <a:gd name="T14" fmla="*/ 101 w 109"/>
                <a:gd name="T15" fmla="*/ 8 h 176"/>
                <a:gd name="T16" fmla="*/ 84 w 109"/>
                <a:gd name="T17" fmla="*/ 0 h 176"/>
                <a:gd name="T18" fmla="*/ 67 w 109"/>
                <a:gd name="T19" fmla="*/ 16 h 176"/>
                <a:gd name="T20" fmla="*/ 59 w 109"/>
                <a:gd name="T21" fmla="*/ 48 h 176"/>
                <a:gd name="T22" fmla="*/ 42 w 109"/>
                <a:gd name="T23" fmla="*/ 16 h 176"/>
                <a:gd name="T24" fmla="*/ 8 w 109"/>
                <a:gd name="T25" fmla="*/ 40 h 176"/>
                <a:gd name="T26" fmla="*/ 0 w 109"/>
                <a:gd name="T27" fmla="*/ 48 h 176"/>
                <a:gd name="T28" fmla="*/ 8 w 109"/>
                <a:gd name="T29" fmla="*/ 72 h 176"/>
                <a:gd name="T30" fmla="*/ 42 w 109"/>
                <a:gd name="T31" fmla="*/ 88 h 176"/>
                <a:gd name="T32" fmla="*/ 50 w 109"/>
                <a:gd name="T33" fmla="*/ 112 h 176"/>
                <a:gd name="T34" fmla="*/ 33 w 109"/>
                <a:gd name="T35" fmla="*/ 144 h 176"/>
                <a:gd name="T36" fmla="*/ 8 w 109"/>
                <a:gd name="T37" fmla="*/ 136 h 176"/>
                <a:gd name="T38" fmla="*/ 0 w 109"/>
                <a:gd name="T39" fmla="*/ 168 h 1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9" h="176">
                  <a:moveTo>
                    <a:pt x="0" y="168"/>
                  </a:moveTo>
                  <a:lnTo>
                    <a:pt x="50" y="176"/>
                  </a:lnTo>
                  <a:lnTo>
                    <a:pt x="76" y="144"/>
                  </a:lnTo>
                  <a:lnTo>
                    <a:pt x="76" y="112"/>
                  </a:lnTo>
                  <a:lnTo>
                    <a:pt x="109" y="96"/>
                  </a:lnTo>
                  <a:lnTo>
                    <a:pt x="92" y="72"/>
                  </a:lnTo>
                  <a:lnTo>
                    <a:pt x="109" y="64"/>
                  </a:lnTo>
                  <a:lnTo>
                    <a:pt x="101" y="8"/>
                  </a:lnTo>
                  <a:lnTo>
                    <a:pt x="84" y="0"/>
                  </a:lnTo>
                  <a:lnTo>
                    <a:pt x="67" y="16"/>
                  </a:lnTo>
                  <a:lnTo>
                    <a:pt x="59" y="48"/>
                  </a:lnTo>
                  <a:lnTo>
                    <a:pt x="42" y="16"/>
                  </a:lnTo>
                  <a:lnTo>
                    <a:pt x="8" y="40"/>
                  </a:lnTo>
                  <a:lnTo>
                    <a:pt x="0" y="48"/>
                  </a:lnTo>
                  <a:lnTo>
                    <a:pt x="8" y="72"/>
                  </a:lnTo>
                  <a:lnTo>
                    <a:pt x="42" y="88"/>
                  </a:lnTo>
                  <a:lnTo>
                    <a:pt x="50" y="112"/>
                  </a:lnTo>
                  <a:lnTo>
                    <a:pt x="33" y="144"/>
                  </a:lnTo>
                  <a:lnTo>
                    <a:pt x="8" y="13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68" name="Freeform 20"/>
            <p:cNvSpPr>
              <a:spLocks/>
            </p:cNvSpPr>
            <p:nvPr/>
          </p:nvSpPr>
          <p:spPr bwMode="auto">
            <a:xfrm>
              <a:off x="4039" y="4048"/>
              <a:ext cx="328" cy="208"/>
            </a:xfrm>
            <a:custGeom>
              <a:avLst/>
              <a:gdLst>
                <a:gd name="T0" fmla="*/ 0 w 328"/>
                <a:gd name="T1" fmla="*/ 80 h 208"/>
                <a:gd name="T2" fmla="*/ 0 w 328"/>
                <a:gd name="T3" fmla="*/ 56 h 208"/>
                <a:gd name="T4" fmla="*/ 25 w 328"/>
                <a:gd name="T5" fmla="*/ 32 h 208"/>
                <a:gd name="T6" fmla="*/ 50 w 328"/>
                <a:gd name="T7" fmla="*/ 48 h 208"/>
                <a:gd name="T8" fmla="*/ 67 w 328"/>
                <a:gd name="T9" fmla="*/ 32 h 208"/>
                <a:gd name="T10" fmla="*/ 92 w 328"/>
                <a:gd name="T11" fmla="*/ 24 h 208"/>
                <a:gd name="T12" fmla="*/ 101 w 328"/>
                <a:gd name="T13" fmla="*/ 32 h 208"/>
                <a:gd name="T14" fmla="*/ 117 w 328"/>
                <a:gd name="T15" fmla="*/ 40 h 208"/>
                <a:gd name="T16" fmla="*/ 134 w 328"/>
                <a:gd name="T17" fmla="*/ 48 h 208"/>
                <a:gd name="T18" fmla="*/ 160 w 328"/>
                <a:gd name="T19" fmla="*/ 40 h 208"/>
                <a:gd name="T20" fmla="*/ 210 w 328"/>
                <a:gd name="T21" fmla="*/ 40 h 208"/>
                <a:gd name="T22" fmla="*/ 235 w 328"/>
                <a:gd name="T23" fmla="*/ 32 h 208"/>
                <a:gd name="T24" fmla="*/ 252 w 328"/>
                <a:gd name="T25" fmla="*/ 16 h 208"/>
                <a:gd name="T26" fmla="*/ 261 w 328"/>
                <a:gd name="T27" fmla="*/ 16 h 208"/>
                <a:gd name="T28" fmla="*/ 286 w 328"/>
                <a:gd name="T29" fmla="*/ 24 h 208"/>
                <a:gd name="T30" fmla="*/ 294 w 328"/>
                <a:gd name="T31" fmla="*/ 8 h 208"/>
                <a:gd name="T32" fmla="*/ 320 w 328"/>
                <a:gd name="T33" fmla="*/ 0 h 208"/>
                <a:gd name="T34" fmla="*/ 328 w 328"/>
                <a:gd name="T35" fmla="*/ 16 h 208"/>
                <a:gd name="T36" fmla="*/ 311 w 328"/>
                <a:gd name="T37" fmla="*/ 56 h 208"/>
                <a:gd name="T38" fmla="*/ 303 w 328"/>
                <a:gd name="T39" fmla="*/ 80 h 208"/>
                <a:gd name="T40" fmla="*/ 286 w 328"/>
                <a:gd name="T41" fmla="*/ 104 h 208"/>
                <a:gd name="T42" fmla="*/ 286 w 328"/>
                <a:gd name="T43" fmla="*/ 112 h 208"/>
                <a:gd name="T44" fmla="*/ 303 w 328"/>
                <a:gd name="T45" fmla="*/ 128 h 208"/>
                <a:gd name="T46" fmla="*/ 320 w 328"/>
                <a:gd name="T47" fmla="*/ 160 h 208"/>
                <a:gd name="T48" fmla="*/ 303 w 328"/>
                <a:gd name="T49" fmla="*/ 176 h 208"/>
                <a:gd name="T50" fmla="*/ 303 w 328"/>
                <a:gd name="T51" fmla="*/ 208 h 208"/>
                <a:gd name="T52" fmla="*/ 269 w 328"/>
                <a:gd name="T53" fmla="*/ 200 h 208"/>
                <a:gd name="T54" fmla="*/ 227 w 328"/>
                <a:gd name="T55" fmla="*/ 192 h 208"/>
                <a:gd name="T56" fmla="*/ 202 w 328"/>
                <a:gd name="T57" fmla="*/ 152 h 208"/>
                <a:gd name="T58" fmla="*/ 168 w 328"/>
                <a:gd name="T59" fmla="*/ 160 h 208"/>
                <a:gd name="T60" fmla="*/ 143 w 328"/>
                <a:gd name="T61" fmla="*/ 144 h 208"/>
                <a:gd name="T62" fmla="*/ 126 w 328"/>
                <a:gd name="T63" fmla="*/ 128 h 208"/>
                <a:gd name="T64" fmla="*/ 109 w 328"/>
                <a:gd name="T65" fmla="*/ 128 h 208"/>
                <a:gd name="T66" fmla="*/ 84 w 328"/>
                <a:gd name="T67" fmla="*/ 112 h 208"/>
                <a:gd name="T68" fmla="*/ 67 w 328"/>
                <a:gd name="T69" fmla="*/ 112 h 208"/>
                <a:gd name="T70" fmla="*/ 50 w 328"/>
                <a:gd name="T71" fmla="*/ 96 h 208"/>
                <a:gd name="T72" fmla="*/ 25 w 328"/>
                <a:gd name="T73" fmla="*/ 104 h 208"/>
                <a:gd name="T74" fmla="*/ 0 w 328"/>
                <a:gd name="T75" fmla="*/ 80 h 20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28" h="208">
                  <a:moveTo>
                    <a:pt x="0" y="80"/>
                  </a:moveTo>
                  <a:lnTo>
                    <a:pt x="0" y="56"/>
                  </a:lnTo>
                  <a:lnTo>
                    <a:pt x="25" y="32"/>
                  </a:lnTo>
                  <a:lnTo>
                    <a:pt x="50" y="48"/>
                  </a:lnTo>
                  <a:lnTo>
                    <a:pt x="67" y="32"/>
                  </a:lnTo>
                  <a:lnTo>
                    <a:pt x="92" y="24"/>
                  </a:lnTo>
                  <a:lnTo>
                    <a:pt x="101" y="32"/>
                  </a:lnTo>
                  <a:lnTo>
                    <a:pt x="117" y="40"/>
                  </a:lnTo>
                  <a:lnTo>
                    <a:pt x="134" y="48"/>
                  </a:lnTo>
                  <a:lnTo>
                    <a:pt x="160" y="40"/>
                  </a:lnTo>
                  <a:lnTo>
                    <a:pt x="210" y="40"/>
                  </a:lnTo>
                  <a:lnTo>
                    <a:pt x="235" y="32"/>
                  </a:lnTo>
                  <a:lnTo>
                    <a:pt x="252" y="16"/>
                  </a:lnTo>
                  <a:lnTo>
                    <a:pt x="261" y="16"/>
                  </a:lnTo>
                  <a:lnTo>
                    <a:pt x="286" y="24"/>
                  </a:lnTo>
                  <a:lnTo>
                    <a:pt x="294" y="8"/>
                  </a:lnTo>
                  <a:lnTo>
                    <a:pt x="320" y="0"/>
                  </a:lnTo>
                  <a:lnTo>
                    <a:pt x="328" y="16"/>
                  </a:lnTo>
                  <a:lnTo>
                    <a:pt x="311" y="56"/>
                  </a:lnTo>
                  <a:lnTo>
                    <a:pt x="303" y="80"/>
                  </a:lnTo>
                  <a:lnTo>
                    <a:pt x="286" y="104"/>
                  </a:lnTo>
                  <a:lnTo>
                    <a:pt x="286" y="112"/>
                  </a:lnTo>
                  <a:lnTo>
                    <a:pt x="303" y="128"/>
                  </a:lnTo>
                  <a:lnTo>
                    <a:pt x="320" y="160"/>
                  </a:lnTo>
                  <a:lnTo>
                    <a:pt x="303" y="176"/>
                  </a:lnTo>
                  <a:lnTo>
                    <a:pt x="303" y="208"/>
                  </a:lnTo>
                  <a:lnTo>
                    <a:pt x="269" y="200"/>
                  </a:lnTo>
                  <a:lnTo>
                    <a:pt x="227" y="192"/>
                  </a:lnTo>
                  <a:lnTo>
                    <a:pt x="202" y="152"/>
                  </a:lnTo>
                  <a:lnTo>
                    <a:pt x="168" y="160"/>
                  </a:lnTo>
                  <a:lnTo>
                    <a:pt x="143" y="144"/>
                  </a:lnTo>
                  <a:lnTo>
                    <a:pt x="126" y="128"/>
                  </a:lnTo>
                  <a:lnTo>
                    <a:pt x="109" y="128"/>
                  </a:lnTo>
                  <a:lnTo>
                    <a:pt x="84" y="112"/>
                  </a:lnTo>
                  <a:lnTo>
                    <a:pt x="67" y="112"/>
                  </a:lnTo>
                  <a:lnTo>
                    <a:pt x="50" y="96"/>
                  </a:lnTo>
                  <a:lnTo>
                    <a:pt x="25" y="104"/>
                  </a:lnTo>
                  <a:lnTo>
                    <a:pt x="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69" name="Freeform 21"/>
            <p:cNvSpPr>
              <a:spLocks/>
            </p:cNvSpPr>
            <p:nvPr/>
          </p:nvSpPr>
          <p:spPr bwMode="auto">
            <a:xfrm>
              <a:off x="3845" y="1920"/>
              <a:ext cx="109" cy="176"/>
            </a:xfrm>
            <a:custGeom>
              <a:avLst/>
              <a:gdLst>
                <a:gd name="T0" fmla="*/ 0 w 109"/>
                <a:gd name="T1" fmla="*/ 168 h 176"/>
                <a:gd name="T2" fmla="*/ 50 w 109"/>
                <a:gd name="T3" fmla="*/ 176 h 176"/>
                <a:gd name="T4" fmla="*/ 76 w 109"/>
                <a:gd name="T5" fmla="*/ 144 h 176"/>
                <a:gd name="T6" fmla="*/ 76 w 109"/>
                <a:gd name="T7" fmla="*/ 112 h 176"/>
                <a:gd name="T8" fmla="*/ 109 w 109"/>
                <a:gd name="T9" fmla="*/ 96 h 176"/>
                <a:gd name="T10" fmla="*/ 92 w 109"/>
                <a:gd name="T11" fmla="*/ 72 h 176"/>
                <a:gd name="T12" fmla="*/ 109 w 109"/>
                <a:gd name="T13" fmla="*/ 64 h 176"/>
                <a:gd name="T14" fmla="*/ 101 w 109"/>
                <a:gd name="T15" fmla="*/ 8 h 176"/>
                <a:gd name="T16" fmla="*/ 84 w 109"/>
                <a:gd name="T17" fmla="*/ 0 h 176"/>
                <a:gd name="T18" fmla="*/ 67 w 109"/>
                <a:gd name="T19" fmla="*/ 16 h 176"/>
                <a:gd name="T20" fmla="*/ 59 w 109"/>
                <a:gd name="T21" fmla="*/ 48 h 176"/>
                <a:gd name="T22" fmla="*/ 42 w 109"/>
                <a:gd name="T23" fmla="*/ 16 h 176"/>
                <a:gd name="T24" fmla="*/ 8 w 109"/>
                <a:gd name="T25" fmla="*/ 40 h 176"/>
                <a:gd name="T26" fmla="*/ 0 w 109"/>
                <a:gd name="T27" fmla="*/ 48 h 176"/>
                <a:gd name="T28" fmla="*/ 8 w 109"/>
                <a:gd name="T29" fmla="*/ 72 h 176"/>
                <a:gd name="T30" fmla="*/ 42 w 109"/>
                <a:gd name="T31" fmla="*/ 88 h 176"/>
                <a:gd name="T32" fmla="*/ 50 w 109"/>
                <a:gd name="T33" fmla="*/ 112 h 176"/>
                <a:gd name="T34" fmla="*/ 33 w 109"/>
                <a:gd name="T35" fmla="*/ 144 h 176"/>
                <a:gd name="T36" fmla="*/ 8 w 109"/>
                <a:gd name="T37" fmla="*/ 136 h 176"/>
                <a:gd name="T38" fmla="*/ 0 w 109"/>
                <a:gd name="T39" fmla="*/ 168 h 1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9" h="176">
                  <a:moveTo>
                    <a:pt x="0" y="168"/>
                  </a:moveTo>
                  <a:lnTo>
                    <a:pt x="50" y="176"/>
                  </a:lnTo>
                  <a:lnTo>
                    <a:pt x="76" y="144"/>
                  </a:lnTo>
                  <a:lnTo>
                    <a:pt x="76" y="112"/>
                  </a:lnTo>
                  <a:lnTo>
                    <a:pt x="109" y="96"/>
                  </a:lnTo>
                  <a:lnTo>
                    <a:pt x="92" y="72"/>
                  </a:lnTo>
                  <a:lnTo>
                    <a:pt x="109" y="64"/>
                  </a:lnTo>
                  <a:lnTo>
                    <a:pt x="101" y="8"/>
                  </a:lnTo>
                  <a:lnTo>
                    <a:pt x="84" y="0"/>
                  </a:lnTo>
                  <a:lnTo>
                    <a:pt x="67" y="16"/>
                  </a:lnTo>
                  <a:lnTo>
                    <a:pt x="59" y="48"/>
                  </a:lnTo>
                  <a:lnTo>
                    <a:pt x="42" y="16"/>
                  </a:lnTo>
                  <a:lnTo>
                    <a:pt x="8" y="40"/>
                  </a:lnTo>
                  <a:lnTo>
                    <a:pt x="0" y="48"/>
                  </a:lnTo>
                  <a:lnTo>
                    <a:pt x="8" y="72"/>
                  </a:lnTo>
                  <a:lnTo>
                    <a:pt x="42" y="88"/>
                  </a:lnTo>
                  <a:lnTo>
                    <a:pt x="50" y="112"/>
                  </a:lnTo>
                  <a:lnTo>
                    <a:pt x="33" y="144"/>
                  </a:lnTo>
                  <a:lnTo>
                    <a:pt x="8" y="13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70" name="Freeform 22"/>
            <p:cNvSpPr>
              <a:spLocks/>
            </p:cNvSpPr>
            <p:nvPr/>
          </p:nvSpPr>
          <p:spPr bwMode="auto">
            <a:xfrm>
              <a:off x="4039" y="4048"/>
              <a:ext cx="328" cy="208"/>
            </a:xfrm>
            <a:custGeom>
              <a:avLst/>
              <a:gdLst>
                <a:gd name="T0" fmla="*/ 0 w 328"/>
                <a:gd name="T1" fmla="*/ 80 h 208"/>
                <a:gd name="T2" fmla="*/ 0 w 328"/>
                <a:gd name="T3" fmla="*/ 56 h 208"/>
                <a:gd name="T4" fmla="*/ 25 w 328"/>
                <a:gd name="T5" fmla="*/ 32 h 208"/>
                <a:gd name="T6" fmla="*/ 50 w 328"/>
                <a:gd name="T7" fmla="*/ 48 h 208"/>
                <a:gd name="T8" fmla="*/ 67 w 328"/>
                <a:gd name="T9" fmla="*/ 32 h 208"/>
                <a:gd name="T10" fmla="*/ 92 w 328"/>
                <a:gd name="T11" fmla="*/ 24 h 208"/>
                <a:gd name="T12" fmla="*/ 101 w 328"/>
                <a:gd name="T13" fmla="*/ 32 h 208"/>
                <a:gd name="T14" fmla="*/ 117 w 328"/>
                <a:gd name="T15" fmla="*/ 40 h 208"/>
                <a:gd name="T16" fmla="*/ 134 w 328"/>
                <a:gd name="T17" fmla="*/ 48 h 208"/>
                <a:gd name="T18" fmla="*/ 160 w 328"/>
                <a:gd name="T19" fmla="*/ 40 h 208"/>
                <a:gd name="T20" fmla="*/ 210 w 328"/>
                <a:gd name="T21" fmla="*/ 40 h 208"/>
                <a:gd name="T22" fmla="*/ 235 w 328"/>
                <a:gd name="T23" fmla="*/ 32 h 208"/>
                <a:gd name="T24" fmla="*/ 252 w 328"/>
                <a:gd name="T25" fmla="*/ 16 h 208"/>
                <a:gd name="T26" fmla="*/ 261 w 328"/>
                <a:gd name="T27" fmla="*/ 16 h 208"/>
                <a:gd name="T28" fmla="*/ 286 w 328"/>
                <a:gd name="T29" fmla="*/ 24 h 208"/>
                <a:gd name="T30" fmla="*/ 294 w 328"/>
                <a:gd name="T31" fmla="*/ 8 h 208"/>
                <a:gd name="T32" fmla="*/ 320 w 328"/>
                <a:gd name="T33" fmla="*/ 0 h 208"/>
                <a:gd name="T34" fmla="*/ 328 w 328"/>
                <a:gd name="T35" fmla="*/ 16 h 208"/>
                <a:gd name="T36" fmla="*/ 311 w 328"/>
                <a:gd name="T37" fmla="*/ 56 h 208"/>
                <a:gd name="T38" fmla="*/ 303 w 328"/>
                <a:gd name="T39" fmla="*/ 80 h 208"/>
                <a:gd name="T40" fmla="*/ 286 w 328"/>
                <a:gd name="T41" fmla="*/ 104 h 208"/>
                <a:gd name="T42" fmla="*/ 286 w 328"/>
                <a:gd name="T43" fmla="*/ 112 h 208"/>
                <a:gd name="T44" fmla="*/ 303 w 328"/>
                <a:gd name="T45" fmla="*/ 128 h 208"/>
                <a:gd name="T46" fmla="*/ 320 w 328"/>
                <a:gd name="T47" fmla="*/ 160 h 208"/>
                <a:gd name="T48" fmla="*/ 303 w 328"/>
                <a:gd name="T49" fmla="*/ 176 h 208"/>
                <a:gd name="T50" fmla="*/ 303 w 328"/>
                <a:gd name="T51" fmla="*/ 208 h 208"/>
                <a:gd name="T52" fmla="*/ 269 w 328"/>
                <a:gd name="T53" fmla="*/ 200 h 208"/>
                <a:gd name="T54" fmla="*/ 227 w 328"/>
                <a:gd name="T55" fmla="*/ 192 h 208"/>
                <a:gd name="T56" fmla="*/ 202 w 328"/>
                <a:gd name="T57" fmla="*/ 152 h 208"/>
                <a:gd name="T58" fmla="*/ 168 w 328"/>
                <a:gd name="T59" fmla="*/ 160 h 208"/>
                <a:gd name="T60" fmla="*/ 143 w 328"/>
                <a:gd name="T61" fmla="*/ 144 h 208"/>
                <a:gd name="T62" fmla="*/ 126 w 328"/>
                <a:gd name="T63" fmla="*/ 128 h 208"/>
                <a:gd name="T64" fmla="*/ 109 w 328"/>
                <a:gd name="T65" fmla="*/ 128 h 208"/>
                <a:gd name="T66" fmla="*/ 84 w 328"/>
                <a:gd name="T67" fmla="*/ 112 h 208"/>
                <a:gd name="T68" fmla="*/ 67 w 328"/>
                <a:gd name="T69" fmla="*/ 112 h 208"/>
                <a:gd name="T70" fmla="*/ 50 w 328"/>
                <a:gd name="T71" fmla="*/ 96 h 208"/>
                <a:gd name="T72" fmla="*/ 25 w 328"/>
                <a:gd name="T73" fmla="*/ 104 h 208"/>
                <a:gd name="T74" fmla="*/ 0 w 328"/>
                <a:gd name="T75" fmla="*/ 80 h 20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28" h="208">
                  <a:moveTo>
                    <a:pt x="0" y="80"/>
                  </a:moveTo>
                  <a:lnTo>
                    <a:pt x="0" y="56"/>
                  </a:lnTo>
                  <a:lnTo>
                    <a:pt x="25" y="32"/>
                  </a:lnTo>
                  <a:lnTo>
                    <a:pt x="50" y="48"/>
                  </a:lnTo>
                  <a:lnTo>
                    <a:pt x="67" y="32"/>
                  </a:lnTo>
                  <a:lnTo>
                    <a:pt x="92" y="24"/>
                  </a:lnTo>
                  <a:lnTo>
                    <a:pt x="101" y="32"/>
                  </a:lnTo>
                  <a:lnTo>
                    <a:pt x="117" y="40"/>
                  </a:lnTo>
                  <a:lnTo>
                    <a:pt x="134" y="48"/>
                  </a:lnTo>
                  <a:lnTo>
                    <a:pt x="160" y="40"/>
                  </a:lnTo>
                  <a:lnTo>
                    <a:pt x="210" y="40"/>
                  </a:lnTo>
                  <a:lnTo>
                    <a:pt x="235" y="32"/>
                  </a:lnTo>
                  <a:lnTo>
                    <a:pt x="252" y="16"/>
                  </a:lnTo>
                  <a:lnTo>
                    <a:pt x="261" y="16"/>
                  </a:lnTo>
                  <a:lnTo>
                    <a:pt x="286" y="24"/>
                  </a:lnTo>
                  <a:lnTo>
                    <a:pt x="294" y="8"/>
                  </a:lnTo>
                  <a:lnTo>
                    <a:pt x="320" y="0"/>
                  </a:lnTo>
                  <a:lnTo>
                    <a:pt x="328" y="16"/>
                  </a:lnTo>
                  <a:lnTo>
                    <a:pt x="311" y="56"/>
                  </a:lnTo>
                  <a:lnTo>
                    <a:pt x="303" y="80"/>
                  </a:lnTo>
                  <a:lnTo>
                    <a:pt x="286" y="104"/>
                  </a:lnTo>
                  <a:lnTo>
                    <a:pt x="286" y="112"/>
                  </a:lnTo>
                  <a:lnTo>
                    <a:pt x="303" y="128"/>
                  </a:lnTo>
                  <a:lnTo>
                    <a:pt x="320" y="160"/>
                  </a:lnTo>
                  <a:lnTo>
                    <a:pt x="303" y="176"/>
                  </a:lnTo>
                  <a:lnTo>
                    <a:pt x="303" y="208"/>
                  </a:lnTo>
                  <a:lnTo>
                    <a:pt x="269" y="200"/>
                  </a:lnTo>
                  <a:lnTo>
                    <a:pt x="227" y="192"/>
                  </a:lnTo>
                  <a:lnTo>
                    <a:pt x="202" y="152"/>
                  </a:lnTo>
                  <a:lnTo>
                    <a:pt x="168" y="160"/>
                  </a:lnTo>
                  <a:lnTo>
                    <a:pt x="143" y="144"/>
                  </a:lnTo>
                  <a:lnTo>
                    <a:pt x="126" y="128"/>
                  </a:lnTo>
                  <a:lnTo>
                    <a:pt x="109" y="128"/>
                  </a:lnTo>
                  <a:lnTo>
                    <a:pt x="84" y="112"/>
                  </a:lnTo>
                  <a:lnTo>
                    <a:pt x="67" y="112"/>
                  </a:lnTo>
                  <a:lnTo>
                    <a:pt x="50" y="96"/>
                  </a:lnTo>
                  <a:lnTo>
                    <a:pt x="25" y="104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71" name="Freeform 23"/>
            <p:cNvSpPr>
              <a:spLocks/>
            </p:cNvSpPr>
            <p:nvPr/>
          </p:nvSpPr>
          <p:spPr bwMode="auto">
            <a:xfrm>
              <a:off x="5286" y="4200"/>
              <a:ext cx="311" cy="72"/>
            </a:xfrm>
            <a:custGeom>
              <a:avLst/>
              <a:gdLst>
                <a:gd name="T0" fmla="*/ 0 w 311"/>
                <a:gd name="T1" fmla="*/ 24 h 72"/>
                <a:gd name="T2" fmla="*/ 8 w 311"/>
                <a:gd name="T3" fmla="*/ 56 h 72"/>
                <a:gd name="T4" fmla="*/ 33 w 311"/>
                <a:gd name="T5" fmla="*/ 64 h 72"/>
                <a:gd name="T6" fmla="*/ 67 w 311"/>
                <a:gd name="T7" fmla="*/ 64 h 72"/>
                <a:gd name="T8" fmla="*/ 126 w 311"/>
                <a:gd name="T9" fmla="*/ 56 h 72"/>
                <a:gd name="T10" fmla="*/ 143 w 311"/>
                <a:gd name="T11" fmla="*/ 56 h 72"/>
                <a:gd name="T12" fmla="*/ 143 w 311"/>
                <a:gd name="T13" fmla="*/ 72 h 72"/>
                <a:gd name="T14" fmla="*/ 193 w 311"/>
                <a:gd name="T15" fmla="*/ 72 h 72"/>
                <a:gd name="T16" fmla="*/ 219 w 311"/>
                <a:gd name="T17" fmla="*/ 56 h 72"/>
                <a:gd name="T18" fmla="*/ 252 w 311"/>
                <a:gd name="T19" fmla="*/ 56 h 72"/>
                <a:gd name="T20" fmla="*/ 278 w 311"/>
                <a:gd name="T21" fmla="*/ 40 h 72"/>
                <a:gd name="T22" fmla="*/ 311 w 311"/>
                <a:gd name="T23" fmla="*/ 32 h 72"/>
                <a:gd name="T24" fmla="*/ 311 w 311"/>
                <a:gd name="T25" fmla="*/ 0 h 72"/>
                <a:gd name="T26" fmla="*/ 286 w 311"/>
                <a:gd name="T27" fmla="*/ 16 h 72"/>
                <a:gd name="T28" fmla="*/ 269 w 311"/>
                <a:gd name="T29" fmla="*/ 24 h 72"/>
                <a:gd name="T30" fmla="*/ 252 w 311"/>
                <a:gd name="T31" fmla="*/ 24 h 72"/>
                <a:gd name="T32" fmla="*/ 244 w 311"/>
                <a:gd name="T33" fmla="*/ 8 h 72"/>
                <a:gd name="T34" fmla="*/ 219 w 311"/>
                <a:gd name="T35" fmla="*/ 16 h 72"/>
                <a:gd name="T36" fmla="*/ 168 w 311"/>
                <a:gd name="T37" fmla="*/ 24 h 72"/>
                <a:gd name="T38" fmla="*/ 168 w 311"/>
                <a:gd name="T39" fmla="*/ 8 h 72"/>
                <a:gd name="T40" fmla="*/ 84 w 311"/>
                <a:gd name="T41" fmla="*/ 40 h 72"/>
                <a:gd name="T42" fmla="*/ 75 w 311"/>
                <a:gd name="T43" fmla="*/ 16 h 72"/>
                <a:gd name="T44" fmla="*/ 59 w 311"/>
                <a:gd name="T45" fmla="*/ 8 h 72"/>
                <a:gd name="T46" fmla="*/ 59 w 311"/>
                <a:gd name="T47" fmla="*/ 24 h 72"/>
                <a:gd name="T48" fmla="*/ 33 w 311"/>
                <a:gd name="T49" fmla="*/ 24 h 72"/>
                <a:gd name="T50" fmla="*/ 16 w 311"/>
                <a:gd name="T51" fmla="*/ 0 h 72"/>
                <a:gd name="T52" fmla="*/ 16 w 311"/>
                <a:gd name="T53" fmla="*/ 16 h 72"/>
                <a:gd name="T54" fmla="*/ 0 w 311"/>
                <a:gd name="T55" fmla="*/ 24 h 7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11" h="72">
                  <a:moveTo>
                    <a:pt x="0" y="24"/>
                  </a:moveTo>
                  <a:lnTo>
                    <a:pt x="8" y="56"/>
                  </a:lnTo>
                  <a:lnTo>
                    <a:pt x="33" y="64"/>
                  </a:lnTo>
                  <a:lnTo>
                    <a:pt x="67" y="64"/>
                  </a:lnTo>
                  <a:lnTo>
                    <a:pt x="126" y="56"/>
                  </a:lnTo>
                  <a:lnTo>
                    <a:pt x="143" y="56"/>
                  </a:lnTo>
                  <a:lnTo>
                    <a:pt x="143" y="72"/>
                  </a:lnTo>
                  <a:lnTo>
                    <a:pt x="193" y="72"/>
                  </a:lnTo>
                  <a:lnTo>
                    <a:pt x="219" y="56"/>
                  </a:lnTo>
                  <a:lnTo>
                    <a:pt x="252" y="56"/>
                  </a:lnTo>
                  <a:lnTo>
                    <a:pt x="278" y="40"/>
                  </a:lnTo>
                  <a:lnTo>
                    <a:pt x="311" y="32"/>
                  </a:lnTo>
                  <a:lnTo>
                    <a:pt x="311" y="0"/>
                  </a:lnTo>
                  <a:lnTo>
                    <a:pt x="286" y="16"/>
                  </a:lnTo>
                  <a:lnTo>
                    <a:pt x="269" y="24"/>
                  </a:lnTo>
                  <a:lnTo>
                    <a:pt x="252" y="24"/>
                  </a:lnTo>
                  <a:lnTo>
                    <a:pt x="244" y="8"/>
                  </a:lnTo>
                  <a:lnTo>
                    <a:pt x="219" y="16"/>
                  </a:lnTo>
                  <a:lnTo>
                    <a:pt x="168" y="24"/>
                  </a:lnTo>
                  <a:lnTo>
                    <a:pt x="168" y="8"/>
                  </a:lnTo>
                  <a:lnTo>
                    <a:pt x="84" y="40"/>
                  </a:lnTo>
                  <a:lnTo>
                    <a:pt x="75" y="16"/>
                  </a:lnTo>
                  <a:lnTo>
                    <a:pt x="59" y="8"/>
                  </a:lnTo>
                  <a:lnTo>
                    <a:pt x="59" y="24"/>
                  </a:lnTo>
                  <a:lnTo>
                    <a:pt x="33" y="24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72" name="Freeform 24"/>
            <p:cNvSpPr>
              <a:spLocks/>
            </p:cNvSpPr>
            <p:nvPr/>
          </p:nvSpPr>
          <p:spPr bwMode="auto">
            <a:xfrm>
              <a:off x="3584" y="3712"/>
              <a:ext cx="168" cy="288"/>
            </a:xfrm>
            <a:custGeom>
              <a:avLst/>
              <a:gdLst>
                <a:gd name="T0" fmla="*/ 0 w 168"/>
                <a:gd name="T1" fmla="*/ 40 h 288"/>
                <a:gd name="T2" fmla="*/ 33 w 168"/>
                <a:gd name="T3" fmla="*/ 48 h 288"/>
                <a:gd name="T4" fmla="*/ 59 w 168"/>
                <a:gd name="T5" fmla="*/ 40 h 288"/>
                <a:gd name="T6" fmla="*/ 101 w 168"/>
                <a:gd name="T7" fmla="*/ 8 h 288"/>
                <a:gd name="T8" fmla="*/ 109 w 168"/>
                <a:gd name="T9" fmla="*/ 0 h 288"/>
                <a:gd name="T10" fmla="*/ 143 w 168"/>
                <a:gd name="T11" fmla="*/ 16 h 288"/>
                <a:gd name="T12" fmla="*/ 143 w 168"/>
                <a:gd name="T13" fmla="*/ 32 h 288"/>
                <a:gd name="T14" fmla="*/ 168 w 168"/>
                <a:gd name="T15" fmla="*/ 96 h 288"/>
                <a:gd name="T16" fmla="*/ 151 w 168"/>
                <a:gd name="T17" fmla="*/ 120 h 288"/>
                <a:gd name="T18" fmla="*/ 168 w 168"/>
                <a:gd name="T19" fmla="*/ 152 h 288"/>
                <a:gd name="T20" fmla="*/ 143 w 168"/>
                <a:gd name="T21" fmla="*/ 256 h 288"/>
                <a:gd name="T22" fmla="*/ 117 w 168"/>
                <a:gd name="T23" fmla="*/ 248 h 288"/>
                <a:gd name="T24" fmla="*/ 92 w 168"/>
                <a:gd name="T25" fmla="*/ 248 h 288"/>
                <a:gd name="T26" fmla="*/ 84 w 168"/>
                <a:gd name="T27" fmla="*/ 264 h 288"/>
                <a:gd name="T28" fmla="*/ 67 w 168"/>
                <a:gd name="T29" fmla="*/ 280 h 288"/>
                <a:gd name="T30" fmla="*/ 42 w 168"/>
                <a:gd name="T31" fmla="*/ 288 h 288"/>
                <a:gd name="T32" fmla="*/ 25 w 168"/>
                <a:gd name="T33" fmla="*/ 248 h 288"/>
                <a:gd name="T34" fmla="*/ 25 w 168"/>
                <a:gd name="T35" fmla="*/ 200 h 288"/>
                <a:gd name="T36" fmla="*/ 33 w 168"/>
                <a:gd name="T37" fmla="*/ 176 h 288"/>
                <a:gd name="T38" fmla="*/ 25 w 168"/>
                <a:gd name="T39" fmla="*/ 160 h 288"/>
                <a:gd name="T40" fmla="*/ 33 w 168"/>
                <a:gd name="T41" fmla="*/ 136 h 288"/>
                <a:gd name="T42" fmla="*/ 33 w 168"/>
                <a:gd name="T43" fmla="*/ 112 h 288"/>
                <a:gd name="T44" fmla="*/ 25 w 168"/>
                <a:gd name="T45" fmla="*/ 80 h 288"/>
                <a:gd name="T46" fmla="*/ 0 w 168"/>
                <a:gd name="T47" fmla="*/ 72 h 288"/>
                <a:gd name="T48" fmla="*/ 0 w 168"/>
                <a:gd name="T49" fmla="*/ 40 h 28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68" h="288">
                  <a:moveTo>
                    <a:pt x="0" y="40"/>
                  </a:moveTo>
                  <a:lnTo>
                    <a:pt x="33" y="48"/>
                  </a:lnTo>
                  <a:lnTo>
                    <a:pt x="59" y="40"/>
                  </a:lnTo>
                  <a:lnTo>
                    <a:pt x="101" y="8"/>
                  </a:lnTo>
                  <a:lnTo>
                    <a:pt x="109" y="0"/>
                  </a:lnTo>
                  <a:lnTo>
                    <a:pt x="143" y="16"/>
                  </a:lnTo>
                  <a:lnTo>
                    <a:pt x="143" y="32"/>
                  </a:lnTo>
                  <a:lnTo>
                    <a:pt x="168" y="96"/>
                  </a:lnTo>
                  <a:lnTo>
                    <a:pt x="151" y="120"/>
                  </a:lnTo>
                  <a:lnTo>
                    <a:pt x="168" y="152"/>
                  </a:lnTo>
                  <a:lnTo>
                    <a:pt x="143" y="256"/>
                  </a:lnTo>
                  <a:lnTo>
                    <a:pt x="117" y="248"/>
                  </a:lnTo>
                  <a:lnTo>
                    <a:pt x="92" y="248"/>
                  </a:lnTo>
                  <a:lnTo>
                    <a:pt x="84" y="264"/>
                  </a:lnTo>
                  <a:lnTo>
                    <a:pt x="67" y="280"/>
                  </a:lnTo>
                  <a:lnTo>
                    <a:pt x="42" y="288"/>
                  </a:lnTo>
                  <a:lnTo>
                    <a:pt x="25" y="248"/>
                  </a:lnTo>
                  <a:lnTo>
                    <a:pt x="25" y="200"/>
                  </a:lnTo>
                  <a:lnTo>
                    <a:pt x="33" y="176"/>
                  </a:lnTo>
                  <a:lnTo>
                    <a:pt x="25" y="160"/>
                  </a:lnTo>
                  <a:lnTo>
                    <a:pt x="33" y="136"/>
                  </a:lnTo>
                  <a:lnTo>
                    <a:pt x="33" y="112"/>
                  </a:lnTo>
                  <a:lnTo>
                    <a:pt x="25" y="80"/>
                  </a:lnTo>
                  <a:lnTo>
                    <a:pt x="0" y="72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auto">
            <a:xfrm>
              <a:off x="5286" y="4200"/>
              <a:ext cx="311" cy="72"/>
            </a:xfrm>
            <a:custGeom>
              <a:avLst/>
              <a:gdLst>
                <a:gd name="T0" fmla="*/ 0 w 311"/>
                <a:gd name="T1" fmla="*/ 24 h 72"/>
                <a:gd name="T2" fmla="*/ 8 w 311"/>
                <a:gd name="T3" fmla="*/ 56 h 72"/>
                <a:gd name="T4" fmla="*/ 33 w 311"/>
                <a:gd name="T5" fmla="*/ 64 h 72"/>
                <a:gd name="T6" fmla="*/ 67 w 311"/>
                <a:gd name="T7" fmla="*/ 64 h 72"/>
                <a:gd name="T8" fmla="*/ 126 w 311"/>
                <a:gd name="T9" fmla="*/ 56 h 72"/>
                <a:gd name="T10" fmla="*/ 143 w 311"/>
                <a:gd name="T11" fmla="*/ 56 h 72"/>
                <a:gd name="T12" fmla="*/ 143 w 311"/>
                <a:gd name="T13" fmla="*/ 72 h 72"/>
                <a:gd name="T14" fmla="*/ 193 w 311"/>
                <a:gd name="T15" fmla="*/ 72 h 72"/>
                <a:gd name="T16" fmla="*/ 219 w 311"/>
                <a:gd name="T17" fmla="*/ 56 h 72"/>
                <a:gd name="T18" fmla="*/ 252 w 311"/>
                <a:gd name="T19" fmla="*/ 56 h 72"/>
                <a:gd name="T20" fmla="*/ 278 w 311"/>
                <a:gd name="T21" fmla="*/ 40 h 72"/>
                <a:gd name="T22" fmla="*/ 311 w 311"/>
                <a:gd name="T23" fmla="*/ 32 h 72"/>
                <a:gd name="T24" fmla="*/ 311 w 311"/>
                <a:gd name="T25" fmla="*/ 0 h 72"/>
                <a:gd name="T26" fmla="*/ 286 w 311"/>
                <a:gd name="T27" fmla="*/ 16 h 72"/>
                <a:gd name="T28" fmla="*/ 269 w 311"/>
                <a:gd name="T29" fmla="*/ 24 h 72"/>
                <a:gd name="T30" fmla="*/ 252 w 311"/>
                <a:gd name="T31" fmla="*/ 24 h 72"/>
                <a:gd name="T32" fmla="*/ 244 w 311"/>
                <a:gd name="T33" fmla="*/ 8 h 72"/>
                <a:gd name="T34" fmla="*/ 219 w 311"/>
                <a:gd name="T35" fmla="*/ 16 h 72"/>
                <a:gd name="T36" fmla="*/ 168 w 311"/>
                <a:gd name="T37" fmla="*/ 24 h 72"/>
                <a:gd name="T38" fmla="*/ 168 w 311"/>
                <a:gd name="T39" fmla="*/ 8 h 72"/>
                <a:gd name="T40" fmla="*/ 84 w 311"/>
                <a:gd name="T41" fmla="*/ 40 h 72"/>
                <a:gd name="T42" fmla="*/ 75 w 311"/>
                <a:gd name="T43" fmla="*/ 16 h 72"/>
                <a:gd name="T44" fmla="*/ 59 w 311"/>
                <a:gd name="T45" fmla="*/ 8 h 72"/>
                <a:gd name="T46" fmla="*/ 59 w 311"/>
                <a:gd name="T47" fmla="*/ 24 h 72"/>
                <a:gd name="T48" fmla="*/ 33 w 311"/>
                <a:gd name="T49" fmla="*/ 24 h 72"/>
                <a:gd name="T50" fmla="*/ 16 w 311"/>
                <a:gd name="T51" fmla="*/ 0 h 72"/>
                <a:gd name="T52" fmla="*/ 16 w 311"/>
                <a:gd name="T53" fmla="*/ 16 h 72"/>
                <a:gd name="T54" fmla="*/ 0 w 311"/>
                <a:gd name="T55" fmla="*/ 24 h 7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11" h="72">
                  <a:moveTo>
                    <a:pt x="0" y="24"/>
                  </a:moveTo>
                  <a:lnTo>
                    <a:pt x="8" y="56"/>
                  </a:lnTo>
                  <a:lnTo>
                    <a:pt x="33" y="64"/>
                  </a:lnTo>
                  <a:lnTo>
                    <a:pt x="67" y="64"/>
                  </a:lnTo>
                  <a:lnTo>
                    <a:pt x="126" y="56"/>
                  </a:lnTo>
                  <a:lnTo>
                    <a:pt x="143" y="56"/>
                  </a:lnTo>
                  <a:lnTo>
                    <a:pt x="143" y="72"/>
                  </a:lnTo>
                  <a:lnTo>
                    <a:pt x="193" y="72"/>
                  </a:lnTo>
                  <a:lnTo>
                    <a:pt x="219" y="56"/>
                  </a:lnTo>
                  <a:lnTo>
                    <a:pt x="252" y="56"/>
                  </a:lnTo>
                  <a:lnTo>
                    <a:pt x="278" y="40"/>
                  </a:lnTo>
                  <a:lnTo>
                    <a:pt x="311" y="32"/>
                  </a:lnTo>
                  <a:lnTo>
                    <a:pt x="311" y="0"/>
                  </a:lnTo>
                  <a:lnTo>
                    <a:pt x="286" y="16"/>
                  </a:lnTo>
                  <a:lnTo>
                    <a:pt x="269" y="24"/>
                  </a:lnTo>
                  <a:lnTo>
                    <a:pt x="252" y="24"/>
                  </a:lnTo>
                  <a:lnTo>
                    <a:pt x="244" y="8"/>
                  </a:lnTo>
                  <a:lnTo>
                    <a:pt x="219" y="16"/>
                  </a:lnTo>
                  <a:lnTo>
                    <a:pt x="168" y="24"/>
                  </a:lnTo>
                  <a:lnTo>
                    <a:pt x="168" y="8"/>
                  </a:lnTo>
                  <a:lnTo>
                    <a:pt x="84" y="40"/>
                  </a:lnTo>
                  <a:lnTo>
                    <a:pt x="75" y="16"/>
                  </a:lnTo>
                  <a:lnTo>
                    <a:pt x="59" y="8"/>
                  </a:lnTo>
                  <a:lnTo>
                    <a:pt x="59" y="24"/>
                  </a:lnTo>
                  <a:lnTo>
                    <a:pt x="33" y="24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auto">
            <a:xfrm>
              <a:off x="3584" y="3712"/>
              <a:ext cx="168" cy="288"/>
            </a:xfrm>
            <a:custGeom>
              <a:avLst/>
              <a:gdLst>
                <a:gd name="T0" fmla="*/ 0 w 168"/>
                <a:gd name="T1" fmla="*/ 40 h 288"/>
                <a:gd name="T2" fmla="*/ 33 w 168"/>
                <a:gd name="T3" fmla="*/ 48 h 288"/>
                <a:gd name="T4" fmla="*/ 59 w 168"/>
                <a:gd name="T5" fmla="*/ 40 h 288"/>
                <a:gd name="T6" fmla="*/ 101 w 168"/>
                <a:gd name="T7" fmla="*/ 8 h 288"/>
                <a:gd name="T8" fmla="*/ 109 w 168"/>
                <a:gd name="T9" fmla="*/ 0 h 288"/>
                <a:gd name="T10" fmla="*/ 143 w 168"/>
                <a:gd name="T11" fmla="*/ 16 h 288"/>
                <a:gd name="T12" fmla="*/ 143 w 168"/>
                <a:gd name="T13" fmla="*/ 32 h 288"/>
                <a:gd name="T14" fmla="*/ 168 w 168"/>
                <a:gd name="T15" fmla="*/ 96 h 288"/>
                <a:gd name="T16" fmla="*/ 151 w 168"/>
                <a:gd name="T17" fmla="*/ 120 h 288"/>
                <a:gd name="T18" fmla="*/ 168 w 168"/>
                <a:gd name="T19" fmla="*/ 152 h 288"/>
                <a:gd name="T20" fmla="*/ 143 w 168"/>
                <a:gd name="T21" fmla="*/ 256 h 288"/>
                <a:gd name="T22" fmla="*/ 117 w 168"/>
                <a:gd name="T23" fmla="*/ 248 h 288"/>
                <a:gd name="T24" fmla="*/ 92 w 168"/>
                <a:gd name="T25" fmla="*/ 248 h 288"/>
                <a:gd name="T26" fmla="*/ 84 w 168"/>
                <a:gd name="T27" fmla="*/ 264 h 288"/>
                <a:gd name="T28" fmla="*/ 67 w 168"/>
                <a:gd name="T29" fmla="*/ 280 h 288"/>
                <a:gd name="T30" fmla="*/ 42 w 168"/>
                <a:gd name="T31" fmla="*/ 288 h 288"/>
                <a:gd name="T32" fmla="*/ 25 w 168"/>
                <a:gd name="T33" fmla="*/ 248 h 288"/>
                <a:gd name="T34" fmla="*/ 25 w 168"/>
                <a:gd name="T35" fmla="*/ 200 h 288"/>
                <a:gd name="T36" fmla="*/ 33 w 168"/>
                <a:gd name="T37" fmla="*/ 176 h 288"/>
                <a:gd name="T38" fmla="*/ 25 w 168"/>
                <a:gd name="T39" fmla="*/ 160 h 288"/>
                <a:gd name="T40" fmla="*/ 33 w 168"/>
                <a:gd name="T41" fmla="*/ 136 h 288"/>
                <a:gd name="T42" fmla="*/ 33 w 168"/>
                <a:gd name="T43" fmla="*/ 112 h 288"/>
                <a:gd name="T44" fmla="*/ 25 w 168"/>
                <a:gd name="T45" fmla="*/ 80 h 288"/>
                <a:gd name="T46" fmla="*/ 0 w 168"/>
                <a:gd name="T47" fmla="*/ 72 h 288"/>
                <a:gd name="T48" fmla="*/ 0 w 168"/>
                <a:gd name="T49" fmla="*/ 40 h 28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68" h="288">
                  <a:moveTo>
                    <a:pt x="0" y="40"/>
                  </a:moveTo>
                  <a:lnTo>
                    <a:pt x="33" y="48"/>
                  </a:lnTo>
                  <a:lnTo>
                    <a:pt x="59" y="40"/>
                  </a:lnTo>
                  <a:lnTo>
                    <a:pt x="101" y="8"/>
                  </a:lnTo>
                  <a:lnTo>
                    <a:pt x="109" y="0"/>
                  </a:lnTo>
                  <a:lnTo>
                    <a:pt x="143" y="16"/>
                  </a:lnTo>
                  <a:lnTo>
                    <a:pt x="143" y="32"/>
                  </a:lnTo>
                  <a:lnTo>
                    <a:pt x="168" y="96"/>
                  </a:lnTo>
                  <a:lnTo>
                    <a:pt x="151" y="120"/>
                  </a:lnTo>
                  <a:lnTo>
                    <a:pt x="168" y="152"/>
                  </a:lnTo>
                  <a:lnTo>
                    <a:pt x="143" y="256"/>
                  </a:lnTo>
                  <a:lnTo>
                    <a:pt x="117" y="248"/>
                  </a:lnTo>
                  <a:lnTo>
                    <a:pt x="92" y="248"/>
                  </a:lnTo>
                  <a:lnTo>
                    <a:pt x="84" y="264"/>
                  </a:lnTo>
                  <a:lnTo>
                    <a:pt x="67" y="280"/>
                  </a:lnTo>
                  <a:lnTo>
                    <a:pt x="42" y="288"/>
                  </a:lnTo>
                  <a:lnTo>
                    <a:pt x="25" y="248"/>
                  </a:lnTo>
                  <a:lnTo>
                    <a:pt x="25" y="200"/>
                  </a:lnTo>
                  <a:lnTo>
                    <a:pt x="33" y="176"/>
                  </a:lnTo>
                  <a:lnTo>
                    <a:pt x="25" y="160"/>
                  </a:lnTo>
                  <a:lnTo>
                    <a:pt x="33" y="136"/>
                  </a:lnTo>
                  <a:lnTo>
                    <a:pt x="33" y="112"/>
                  </a:lnTo>
                  <a:lnTo>
                    <a:pt x="25" y="80"/>
                  </a:lnTo>
                  <a:lnTo>
                    <a:pt x="0" y="72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75" name="Freeform 27"/>
            <p:cNvSpPr>
              <a:spLocks/>
            </p:cNvSpPr>
            <p:nvPr/>
          </p:nvSpPr>
          <p:spPr bwMode="auto">
            <a:xfrm>
              <a:off x="3626" y="3496"/>
              <a:ext cx="101" cy="192"/>
            </a:xfrm>
            <a:custGeom>
              <a:avLst/>
              <a:gdLst>
                <a:gd name="T0" fmla="*/ 75 w 101"/>
                <a:gd name="T1" fmla="*/ 32 h 192"/>
                <a:gd name="T2" fmla="*/ 75 w 101"/>
                <a:gd name="T3" fmla="*/ 0 h 192"/>
                <a:gd name="T4" fmla="*/ 92 w 101"/>
                <a:gd name="T5" fmla="*/ 0 h 192"/>
                <a:gd name="T6" fmla="*/ 92 w 101"/>
                <a:gd name="T7" fmla="*/ 40 h 192"/>
                <a:gd name="T8" fmla="*/ 101 w 101"/>
                <a:gd name="T9" fmla="*/ 56 h 192"/>
                <a:gd name="T10" fmla="*/ 101 w 101"/>
                <a:gd name="T11" fmla="*/ 104 h 192"/>
                <a:gd name="T12" fmla="*/ 92 w 101"/>
                <a:gd name="T13" fmla="*/ 120 h 192"/>
                <a:gd name="T14" fmla="*/ 92 w 101"/>
                <a:gd name="T15" fmla="*/ 152 h 192"/>
                <a:gd name="T16" fmla="*/ 67 w 101"/>
                <a:gd name="T17" fmla="*/ 192 h 192"/>
                <a:gd name="T18" fmla="*/ 50 w 101"/>
                <a:gd name="T19" fmla="*/ 192 h 192"/>
                <a:gd name="T20" fmla="*/ 25 w 101"/>
                <a:gd name="T21" fmla="*/ 176 h 192"/>
                <a:gd name="T22" fmla="*/ 33 w 101"/>
                <a:gd name="T23" fmla="*/ 160 h 192"/>
                <a:gd name="T24" fmla="*/ 17 w 101"/>
                <a:gd name="T25" fmla="*/ 152 h 192"/>
                <a:gd name="T26" fmla="*/ 33 w 101"/>
                <a:gd name="T27" fmla="*/ 136 h 192"/>
                <a:gd name="T28" fmla="*/ 8 w 101"/>
                <a:gd name="T29" fmla="*/ 128 h 192"/>
                <a:gd name="T30" fmla="*/ 25 w 101"/>
                <a:gd name="T31" fmla="*/ 112 h 192"/>
                <a:gd name="T32" fmla="*/ 8 w 101"/>
                <a:gd name="T33" fmla="*/ 96 h 192"/>
                <a:gd name="T34" fmla="*/ 0 w 101"/>
                <a:gd name="T35" fmla="*/ 72 h 192"/>
                <a:gd name="T36" fmla="*/ 17 w 101"/>
                <a:gd name="T37" fmla="*/ 64 h 192"/>
                <a:gd name="T38" fmla="*/ 17 w 101"/>
                <a:gd name="T39" fmla="*/ 48 h 192"/>
                <a:gd name="T40" fmla="*/ 42 w 101"/>
                <a:gd name="T41" fmla="*/ 40 h 192"/>
                <a:gd name="T42" fmla="*/ 75 w 101"/>
                <a:gd name="T43" fmla="*/ 32 h 19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1" h="192">
                  <a:moveTo>
                    <a:pt x="75" y="32"/>
                  </a:moveTo>
                  <a:lnTo>
                    <a:pt x="75" y="0"/>
                  </a:lnTo>
                  <a:lnTo>
                    <a:pt x="92" y="0"/>
                  </a:lnTo>
                  <a:lnTo>
                    <a:pt x="92" y="40"/>
                  </a:lnTo>
                  <a:lnTo>
                    <a:pt x="101" y="56"/>
                  </a:lnTo>
                  <a:lnTo>
                    <a:pt x="101" y="104"/>
                  </a:lnTo>
                  <a:lnTo>
                    <a:pt x="92" y="120"/>
                  </a:lnTo>
                  <a:lnTo>
                    <a:pt x="92" y="152"/>
                  </a:lnTo>
                  <a:lnTo>
                    <a:pt x="67" y="192"/>
                  </a:lnTo>
                  <a:lnTo>
                    <a:pt x="50" y="192"/>
                  </a:lnTo>
                  <a:lnTo>
                    <a:pt x="25" y="176"/>
                  </a:lnTo>
                  <a:lnTo>
                    <a:pt x="33" y="160"/>
                  </a:lnTo>
                  <a:lnTo>
                    <a:pt x="17" y="152"/>
                  </a:lnTo>
                  <a:lnTo>
                    <a:pt x="33" y="136"/>
                  </a:lnTo>
                  <a:lnTo>
                    <a:pt x="8" y="128"/>
                  </a:lnTo>
                  <a:lnTo>
                    <a:pt x="25" y="112"/>
                  </a:lnTo>
                  <a:lnTo>
                    <a:pt x="8" y="96"/>
                  </a:lnTo>
                  <a:lnTo>
                    <a:pt x="0" y="72"/>
                  </a:lnTo>
                  <a:lnTo>
                    <a:pt x="17" y="64"/>
                  </a:lnTo>
                  <a:lnTo>
                    <a:pt x="17" y="48"/>
                  </a:lnTo>
                  <a:lnTo>
                    <a:pt x="42" y="40"/>
                  </a:lnTo>
                  <a:lnTo>
                    <a:pt x="75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76" name="Freeform 28"/>
            <p:cNvSpPr>
              <a:spLocks/>
            </p:cNvSpPr>
            <p:nvPr/>
          </p:nvSpPr>
          <p:spPr bwMode="auto">
            <a:xfrm>
              <a:off x="3626" y="3496"/>
              <a:ext cx="101" cy="192"/>
            </a:xfrm>
            <a:custGeom>
              <a:avLst/>
              <a:gdLst>
                <a:gd name="T0" fmla="*/ 75 w 101"/>
                <a:gd name="T1" fmla="*/ 32 h 192"/>
                <a:gd name="T2" fmla="*/ 75 w 101"/>
                <a:gd name="T3" fmla="*/ 0 h 192"/>
                <a:gd name="T4" fmla="*/ 92 w 101"/>
                <a:gd name="T5" fmla="*/ 0 h 192"/>
                <a:gd name="T6" fmla="*/ 92 w 101"/>
                <a:gd name="T7" fmla="*/ 40 h 192"/>
                <a:gd name="T8" fmla="*/ 101 w 101"/>
                <a:gd name="T9" fmla="*/ 56 h 192"/>
                <a:gd name="T10" fmla="*/ 101 w 101"/>
                <a:gd name="T11" fmla="*/ 104 h 192"/>
                <a:gd name="T12" fmla="*/ 92 w 101"/>
                <a:gd name="T13" fmla="*/ 120 h 192"/>
                <a:gd name="T14" fmla="*/ 92 w 101"/>
                <a:gd name="T15" fmla="*/ 152 h 192"/>
                <a:gd name="T16" fmla="*/ 67 w 101"/>
                <a:gd name="T17" fmla="*/ 192 h 192"/>
                <a:gd name="T18" fmla="*/ 50 w 101"/>
                <a:gd name="T19" fmla="*/ 192 h 192"/>
                <a:gd name="T20" fmla="*/ 25 w 101"/>
                <a:gd name="T21" fmla="*/ 176 h 192"/>
                <a:gd name="T22" fmla="*/ 33 w 101"/>
                <a:gd name="T23" fmla="*/ 160 h 192"/>
                <a:gd name="T24" fmla="*/ 17 w 101"/>
                <a:gd name="T25" fmla="*/ 152 h 192"/>
                <a:gd name="T26" fmla="*/ 33 w 101"/>
                <a:gd name="T27" fmla="*/ 136 h 192"/>
                <a:gd name="T28" fmla="*/ 8 w 101"/>
                <a:gd name="T29" fmla="*/ 128 h 192"/>
                <a:gd name="T30" fmla="*/ 25 w 101"/>
                <a:gd name="T31" fmla="*/ 112 h 192"/>
                <a:gd name="T32" fmla="*/ 8 w 101"/>
                <a:gd name="T33" fmla="*/ 96 h 192"/>
                <a:gd name="T34" fmla="*/ 0 w 101"/>
                <a:gd name="T35" fmla="*/ 72 h 192"/>
                <a:gd name="T36" fmla="*/ 17 w 101"/>
                <a:gd name="T37" fmla="*/ 64 h 192"/>
                <a:gd name="T38" fmla="*/ 17 w 101"/>
                <a:gd name="T39" fmla="*/ 48 h 192"/>
                <a:gd name="T40" fmla="*/ 42 w 101"/>
                <a:gd name="T41" fmla="*/ 40 h 192"/>
                <a:gd name="T42" fmla="*/ 75 w 101"/>
                <a:gd name="T43" fmla="*/ 32 h 19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1" h="192">
                  <a:moveTo>
                    <a:pt x="75" y="32"/>
                  </a:moveTo>
                  <a:lnTo>
                    <a:pt x="75" y="0"/>
                  </a:lnTo>
                  <a:lnTo>
                    <a:pt x="92" y="0"/>
                  </a:lnTo>
                  <a:lnTo>
                    <a:pt x="92" y="40"/>
                  </a:lnTo>
                  <a:lnTo>
                    <a:pt x="101" y="56"/>
                  </a:lnTo>
                  <a:lnTo>
                    <a:pt x="101" y="104"/>
                  </a:lnTo>
                  <a:lnTo>
                    <a:pt x="92" y="120"/>
                  </a:lnTo>
                  <a:lnTo>
                    <a:pt x="92" y="152"/>
                  </a:lnTo>
                  <a:lnTo>
                    <a:pt x="67" y="192"/>
                  </a:lnTo>
                  <a:lnTo>
                    <a:pt x="50" y="192"/>
                  </a:lnTo>
                  <a:lnTo>
                    <a:pt x="25" y="176"/>
                  </a:lnTo>
                  <a:lnTo>
                    <a:pt x="33" y="160"/>
                  </a:lnTo>
                  <a:lnTo>
                    <a:pt x="17" y="152"/>
                  </a:lnTo>
                  <a:lnTo>
                    <a:pt x="33" y="136"/>
                  </a:lnTo>
                  <a:lnTo>
                    <a:pt x="8" y="128"/>
                  </a:lnTo>
                  <a:lnTo>
                    <a:pt x="25" y="112"/>
                  </a:lnTo>
                  <a:lnTo>
                    <a:pt x="8" y="96"/>
                  </a:lnTo>
                  <a:lnTo>
                    <a:pt x="0" y="72"/>
                  </a:lnTo>
                  <a:lnTo>
                    <a:pt x="17" y="64"/>
                  </a:lnTo>
                  <a:lnTo>
                    <a:pt x="17" y="48"/>
                  </a:lnTo>
                  <a:lnTo>
                    <a:pt x="42" y="40"/>
                  </a:lnTo>
                  <a:lnTo>
                    <a:pt x="75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77" name="Freeform 31"/>
            <p:cNvSpPr>
              <a:spLocks/>
            </p:cNvSpPr>
            <p:nvPr/>
          </p:nvSpPr>
          <p:spPr bwMode="auto">
            <a:xfrm>
              <a:off x="3457" y="3008"/>
              <a:ext cx="1180" cy="1080"/>
            </a:xfrm>
            <a:custGeom>
              <a:avLst/>
              <a:gdLst>
                <a:gd name="T0" fmla="*/ 1121 w 1180"/>
                <a:gd name="T1" fmla="*/ 728 h 1080"/>
                <a:gd name="T2" fmla="*/ 1003 w 1180"/>
                <a:gd name="T3" fmla="*/ 672 h 1080"/>
                <a:gd name="T4" fmla="*/ 935 w 1180"/>
                <a:gd name="T5" fmla="*/ 616 h 1080"/>
                <a:gd name="T6" fmla="*/ 902 w 1180"/>
                <a:gd name="T7" fmla="*/ 584 h 1080"/>
                <a:gd name="T8" fmla="*/ 817 w 1180"/>
                <a:gd name="T9" fmla="*/ 592 h 1080"/>
                <a:gd name="T10" fmla="*/ 733 w 1180"/>
                <a:gd name="T11" fmla="*/ 528 h 1080"/>
                <a:gd name="T12" fmla="*/ 683 w 1180"/>
                <a:gd name="T13" fmla="*/ 448 h 1080"/>
                <a:gd name="T14" fmla="*/ 556 w 1180"/>
                <a:gd name="T15" fmla="*/ 344 h 1080"/>
                <a:gd name="T16" fmla="*/ 523 w 1180"/>
                <a:gd name="T17" fmla="*/ 280 h 1080"/>
                <a:gd name="T18" fmla="*/ 548 w 1180"/>
                <a:gd name="T19" fmla="*/ 240 h 1080"/>
                <a:gd name="T20" fmla="*/ 531 w 1180"/>
                <a:gd name="T21" fmla="*/ 216 h 1080"/>
                <a:gd name="T22" fmla="*/ 556 w 1180"/>
                <a:gd name="T23" fmla="*/ 184 h 1080"/>
                <a:gd name="T24" fmla="*/ 649 w 1180"/>
                <a:gd name="T25" fmla="*/ 144 h 1080"/>
                <a:gd name="T26" fmla="*/ 649 w 1180"/>
                <a:gd name="T27" fmla="*/ 56 h 1080"/>
                <a:gd name="T28" fmla="*/ 514 w 1180"/>
                <a:gd name="T29" fmla="*/ 0 h 1080"/>
                <a:gd name="T30" fmla="*/ 405 w 1180"/>
                <a:gd name="T31" fmla="*/ 40 h 1080"/>
                <a:gd name="T32" fmla="*/ 354 w 1180"/>
                <a:gd name="T33" fmla="*/ 64 h 1080"/>
                <a:gd name="T34" fmla="*/ 295 w 1180"/>
                <a:gd name="T35" fmla="*/ 80 h 1080"/>
                <a:gd name="T36" fmla="*/ 228 w 1180"/>
                <a:gd name="T37" fmla="*/ 152 h 1080"/>
                <a:gd name="T38" fmla="*/ 118 w 1180"/>
                <a:gd name="T39" fmla="*/ 136 h 1080"/>
                <a:gd name="T40" fmla="*/ 42 w 1180"/>
                <a:gd name="T41" fmla="*/ 208 h 1080"/>
                <a:gd name="T42" fmla="*/ 25 w 1180"/>
                <a:gd name="T43" fmla="*/ 272 h 1080"/>
                <a:gd name="T44" fmla="*/ 93 w 1180"/>
                <a:gd name="T45" fmla="*/ 352 h 1080"/>
                <a:gd name="T46" fmla="*/ 93 w 1180"/>
                <a:gd name="T47" fmla="*/ 392 h 1080"/>
                <a:gd name="T48" fmla="*/ 160 w 1180"/>
                <a:gd name="T49" fmla="*/ 344 h 1080"/>
                <a:gd name="T50" fmla="*/ 202 w 1180"/>
                <a:gd name="T51" fmla="*/ 320 h 1080"/>
                <a:gd name="T52" fmla="*/ 261 w 1180"/>
                <a:gd name="T53" fmla="*/ 352 h 1080"/>
                <a:gd name="T54" fmla="*/ 312 w 1180"/>
                <a:gd name="T55" fmla="*/ 368 h 1080"/>
                <a:gd name="T56" fmla="*/ 337 w 1180"/>
                <a:gd name="T57" fmla="*/ 424 h 1080"/>
                <a:gd name="T58" fmla="*/ 371 w 1180"/>
                <a:gd name="T59" fmla="*/ 496 h 1080"/>
                <a:gd name="T60" fmla="*/ 430 w 1180"/>
                <a:gd name="T61" fmla="*/ 552 h 1080"/>
                <a:gd name="T62" fmla="*/ 497 w 1180"/>
                <a:gd name="T63" fmla="*/ 592 h 1080"/>
                <a:gd name="T64" fmla="*/ 607 w 1180"/>
                <a:gd name="T65" fmla="*/ 680 h 1080"/>
                <a:gd name="T66" fmla="*/ 649 w 1180"/>
                <a:gd name="T67" fmla="*/ 688 h 1080"/>
                <a:gd name="T68" fmla="*/ 742 w 1180"/>
                <a:gd name="T69" fmla="*/ 744 h 1080"/>
                <a:gd name="T70" fmla="*/ 775 w 1180"/>
                <a:gd name="T71" fmla="*/ 752 h 1080"/>
                <a:gd name="T72" fmla="*/ 809 w 1180"/>
                <a:gd name="T73" fmla="*/ 768 h 1080"/>
                <a:gd name="T74" fmla="*/ 851 w 1180"/>
                <a:gd name="T75" fmla="*/ 824 h 1080"/>
                <a:gd name="T76" fmla="*/ 927 w 1180"/>
                <a:gd name="T77" fmla="*/ 856 h 1080"/>
                <a:gd name="T78" fmla="*/ 978 w 1180"/>
                <a:gd name="T79" fmla="*/ 984 h 1080"/>
                <a:gd name="T80" fmla="*/ 935 w 1180"/>
                <a:gd name="T81" fmla="*/ 1000 h 1080"/>
                <a:gd name="T82" fmla="*/ 927 w 1180"/>
                <a:gd name="T83" fmla="*/ 1040 h 1080"/>
                <a:gd name="T84" fmla="*/ 935 w 1180"/>
                <a:gd name="T85" fmla="*/ 1072 h 1080"/>
                <a:gd name="T86" fmla="*/ 978 w 1180"/>
                <a:gd name="T87" fmla="*/ 1072 h 1080"/>
                <a:gd name="T88" fmla="*/ 1011 w 1180"/>
                <a:gd name="T89" fmla="*/ 1000 h 1080"/>
                <a:gd name="T90" fmla="*/ 1070 w 1180"/>
                <a:gd name="T91" fmla="*/ 952 h 1080"/>
                <a:gd name="T92" fmla="*/ 1053 w 1180"/>
                <a:gd name="T93" fmla="*/ 888 h 1080"/>
                <a:gd name="T94" fmla="*/ 1003 w 1180"/>
                <a:gd name="T95" fmla="*/ 864 h 1080"/>
                <a:gd name="T96" fmla="*/ 1011 w 1180"/>
                <a:gd name="T97" fmla="*/ 800 h 1080"/>
                <a:gd name="T98" fmla="*/ 1045 w 1180"/>
                <a:gd name="T99" fmla="*/ 768 h 1080"/>
                <a:gd name="T100" fmla="*/ 1146 w 1180"/>
                <a:gd name="T101" fmla="*/ 792 h 1080"/>
                <a:gd name="T102" fmla="*/ 1180 w 1180"/>
                <a:gd name="T103" fmla="*/ 784 h 108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180" h="1080">
                  <a:moveTo>
                    <a:pt x="1155" y="752"/>
                  </a:moveTo>
                  <a:lnTo>
                    <a:pt x="1121" y="728"/>
                  </a:lnTo>
                  <a:lnTo>
                    <a:pt x="1087" y="712"/>
                  </a:lnTo>
                  <a:lnTo>
                    <a:pt x="1003" y="672"/>
                  </a:lnTo>
                  <a:lnTo>
                    <a:pt x="919" y="632"/>
                  </a:lnTo>
                  <a:lnTo>
                    <a:pt x="935" y="616"/>
                  </a:lnTo>
                  <a:lnTo>
                    <a:pt x="927" y="600"/>
                  </a:lnTo>
                  <a:lnTo>
                    <a:pt x="902" y="584"/>
                  </a:lnTo>
                  <a:lnTo>
                    <a:pt x="868" y="592"/>
                  </a:lnTo>
                  <a:lnTo>
                    <a:pt x="817" y="592"/>
                  </a:lnTo>
                  <a:lnTo>
                    <a:pt x="775" y="568"/>
                  </a:lnTo>
                  <a:lnTo>
                    <a:pt x="733" y="528"/>
                  </a:lnTo>
                  <a:lnTo>
                    <a:pt x="708" y="488"/>
                  </a:lnTo>
                  <a:lnTo>
                    <a:pt x="683" y="448"/>
                  </a:lnTo>
                  <a:lnTo>
                    <a:pt x="641" y="408"/>
                  </a:lnTo>
                  <a:lnTo>
                    <a:pt x="556" y="344"/>
                  </a:lnTo>
                  <a:lnTo>
                    <a:pt x="523" y="296"/>
                  </a:lnTo>
                  <a:lnTo>
                    <a:pt x="523" y="280"/>
                  </a:lnTo>
                  <a:lnTo>
                    <a:pt x="539" y="256"/>
                  </a:lnTo>
                  <a:lnTo>
                    <a:pt x="548" y="240"/>
                  </a:lnTo>
                  <a:lnTo>
                    <a:pt x="539" y="224"/>
                  </a:lnTo>
                  <a:lnTo>
                    <a:pt x="531" y="216"/>
                  </a:lnTo>
                  <a:lnTo>
                    <a:pt x="531" y="200"/>
                  </a:lnTo>
                  <a:lnTo>
                    <a:pt x="556" y="184"/>
                  </a:lnTo>
                  <a:lnTo>
                    <a:pt x="641" y="152"/>
                  </a:lnTo>
                  <a:lnTo>
                    <a:pt x="649" y="144"/>
                  </a:lnTo>
                  <a:lnTo>
                    <a:pt x="641" y="88"/>
                  </a:lnTo>
                  <a:lnTo>
                    <a:pt x="649" y="56"/>
                  </a:lnTo>
                  <a:lnTo>
                    <a:pt x="531" y="24"/>
                  </a:lnTo>
                  <a:lnTo>
                    <a:pt x="514" y="0"/>
                  </a:lnTo>
                  <a:lnTo>
                    <a:pt x="438" y="8"/>
                  </a:lnTo>
                  <a:lnTo>
                    <a:pt x="405" y="40"/>
                  </a:lnTo>
                  <a:lnTo>
                    <a:pt x="371" y="32"/>
                  </a:lnTo>
                  <a:lnTo>
                    <a:pt x="354" y="64"/>
                  </a:lnTo>
                  <a:lnTo>
                    <a:pt x="320" y="64"/>
                  </a:lnTo>
                  <a:lnTo>
                    <a:pt x="295" y="80"/>
                  </a:lnTo>
                  <a:lnTo>
                    <a:pt x="253" y="72"/>
                  </a:lnTo>
                  <a:lnTo>
                    <a:pt x="228" y="152"/>
                  </a:lnTo>
                  <a:lnTo>
                    <a:pt x="160" y="72"/>
                  </a:lnTo>
                  <a:lnTo>
                    <a:pt x="118" y="136"/>
                  </a:lnTo>
                  <a:lnTo>
                    <a:pt x="25" y="144"/>
                  </a:lnTo>
                  <a:lnTo>
                    <a:pt x="42" y="208"/>
                  </a:lnTo>
                  <a:lnTo>
                    <a:pt x="0" y="232"/>
                  </a:lnTo>
                  <a:lnTo>
                    <a:pt x="25" y="272"/>
                  </a:lnTo>
                  <a:lnTo>
                    <a:pt x="17" y="320"/>
                  </a:lnTo>
                  <a:lnTo>
                    <a:pt x="93" y="352"/>
                  </a:lnTo>
                  <a:lnTo>
                    <a:pt x="76" y="392"/>
                  </a:lnTo>
                  <a:lnTo>
                    <a:pt x="93" y="392"/>
                  </a:lnTo>
                  <a:lnTo>
                    <a:pt x="135" y="376"/>
                  </a:lnTo>
                  <a:lnTo>
                    <a:pt x="160" y="344"/>
                  </a:lnTo>
                  <a:lnTo>
                    <a:pt x="177" y="328"/>
                  </a:lnTo>
                  <a:lnTo>
                    <a:pt x="202" y="320"/>
                  </a:lnTo>
                  <a:lnTo>
                    <a:pt x="244" y="336"/>
                  </a:lnTo>
                  <a:lnTo>
                    <a:pt x="261" y="352"/>
                  </a:lnTo>
                  <a:lnTo>
                    <a:pt x="278" y="368"/>
                  </a:lnTo>
                  <a:lnTo>
                    <a:pt x="312" y="368"/>
                  </a:lnTo>
                  <a:lnTo>
                    <a:pt x="329" y="384"/>
                  </a:lnTo>
                  <a:lnTo>
                    <a:pt x="337" y="424"/>
                  </a:lnTo>
                  <a:lnTo>
                    <a:pt x="362" y="472"/>
                  </a:lnTo>
                  <a:lnTo>
                    <a:pt x="371" y="496"/>
                  </a:lnTo>
                  <a:lnTo>
                    <a:pt x="396" y="512"/>
                  </a:lnTo>
                  <a:lnTo>
                    <a:pt x="430" y="552"/>
                  </a:lnTo>
                  <a:lnTo>
                    <a:pt x="472" y="576"/>
                  </a:lnTo>
                  <a:lnTo>
                    <a:pt x="497" y="592"/>
                  </a:lnTo>
                  <a:lnTo>
                    <a:pt x="514" y="608"/>
                  </a:lnTo>
                  <a:lnTo>
                    <a:pt x="607" y="680"/>
                  </a:lnTo>
                  <a:lnTo>
                    <a:pt x="624" y="696"/>
                  </a:lnTo>
                  <a:lnTo>
                    <a:pt x="649" y="688"/>
                  </a:lnTo>
                  <a:lnTo>
                    <a:pt x="708" y="712"/>
                  </a:lnTo>
                  <a:lnTo>
                    <a:pt x="742" y="744"/>
                  </a:lnTo>
                  <a:lnTo>
                    <a:pt x="767" y="744"/>
                  </a:lnTo>
                  <a:lnTo>
                    <a:pt x="775" y="752"/>
                  </a:lnTo>
                  <a:lnTo>
                    <a:pt x="775" y="768"/>
                  </a:lnTo>
                  <a:lnTo>
                    <a:pt x="809" y="768"/>
                  </a:lnTo>
                  <a:lnTo>
                    <a:pt x="826" y="800"/>
                  </a:lnTo>
                  <a:lnTo>
                    <a:pt x="851" y="824"/>
                  </a:lnTo>
                  <a:lnTo>
                    <a:pt x="893" y="840"/>
                  </a:lnTo>
                  <a:lnTo>
                    <a:pt x="927" y="856"/>
                  </a:lnTo>
                  <a:lnTo>
                    <a:pt x="944" y="904"/>
                  </a:lnTo>
                  <a:lnTo>
                    <a:pt x="978" y="984"/>
                  </a:lnTo>
                  <a:lnTo>
                    <a:pt x="952" y="984"/>
                  </a:lnTo>
                  <a:lnTo>
                    <a:pt x="935" y="1000"/>
                  </a:lnTo>
                  <a:lnTo>
                    <a:pt x="935" y="1016"/>
                  </a:lnTo>
                  <a:lnTo>
                    <a:pt x="927" y="1040"/>
                  </a:lnTo>
                  <a:lnTo>
                    <a:pt x="919" y="1056"/>
                  </a:lnTo>
                  <a:lnTo>
                    <a:pt x="935" y="1072"/>
                  </a:lnTo>
                  <a:lnTo>
                    <a:pt x="952" y="1080"/>
                  </a:lnTo>
                  <a:lnTo>
                    <a:pt x="978" y="1072"/>
                  </a:lnTo>
                  <a:lnTo>
                    <a:pt x="994" y="1040"/>
                  </a:lnTo>
                  <a:lnTo>
                    <a:pt x="1011" y="1000"/>
                  </a:lnTo>
                  <a:lnTo>
                    <a:pt x="1028" y="960"/>
                  </a:lnTo>
                  <a:lnTo>
                    <a:pt x="1070" y="952"/>
                  </a:lnTo>
                  <a:lnTo>
                    <a:pt x="1070" y="904"/>
                  </a:lnTo>
                  <a:lnTo>
                    <a:pt x="1053" y="888"/>
                  </a:lnTo>
                  <a:lnTo>
                    <a:pt x="1028" y="880"/>
                  </a:lnTo>
                  <a:lnTo>
                    <a:pt x="1003" y="864"/>
                  </a:lnTo>
                  <a:lnTo>
                    <a:pt x="994" y="848"/>
                  </a:lnTo>
                  <a:lnTo>
                    <a:pt x="1011" y="800"/>
                  </a:lnTo>
                  <a:lnTo>
                    <a:pt x="1028" y="776"/>
                  </a:lnTo>
                  <a:lnTo>
                    <a:pt x="1045" y="768"/>
                  </a:lnTo>
                  <a:lnTo>
                    <a:pt x="1104" y="776"/>
                  </a:lnTo>
                  <a:lnTo>
                    <a:pt x="1146" y="792"/>
                  </a:lnTo>
                  <a:lnTo>
                    <a:pt x="1180" y="824"/>
                  </a:lnTo>
                  <a:lnTo>
                    <a:pt x="1180" y="784"/>
                  </a:lnTo>
                  <a:lnTo>
                    <a:pt x="1155" y="7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78" name="Freeform 32"/>
            <p:cNvSpPr>
              <a:spLocks/>
            </p:cNvSpPr>
            <p:nvPr/>
          </p:nvSpPr>
          <p:spPr bwMode="auto">
            <a:xfrm>
              <a:off x="2463" y="2496"/>
              <a:ext cx="1146" cy="1088"/>
            </a:xfrm>
            <a:custGeom>
              <a:avLst/>
              <a:gdLst>
                <a:gd name="T0" fmla="*/ 969 w 1146"/>
                <a:gd name="T1" fmla="*/ 600 h 1088"/>
                <a:gd name="T2" fmla="*/ 944 w 1146"/>
                <a:gd name="T3" fmla="*/ 584 h 1088"/>
                <a:gd name="T4" fmla="*/ 986 w 1146"/>
                <a:gd name="T5" fmla="*/ 520 h 1088"/>
                <a:gd name="T6" fmla="*/ 1019 w 1146"/>
                <a:gd name="T7" fmla="*/ 472 h 1088"/>
                <a:gd name="T8" fmla="*/ 1087 w 1146"/>
                <a:gd name="T9" fmla="*/ 448 h 1088"/>
                <a:gd name="T10" fmla="*/ 1112 w 1146"/>
                <a:gd name="T11" fmla="*/ 320 h 1088"/>
                <a:gd name="T12" fmla="*/ 1095 w 1146"/>
                <a:gd name="T13" fmla="*/ 272 h 1088"/>
                <a:gd name="T14" fmla="*/ 1011 w 1146"/>
                <a:gd name="T15" fmla="*/ 248 h 1088"/>
                <a:gd name="T16" fmla="*/ 927 w 1146"/>
                <a:gd name="T17" fmla="*/ 208 h 1088"/>
                <a:gd name="T18" fmla="*/ 851 w 1146"/>
                <a:gd name="T19" fmla="*/ 136 h 1088"/>
                <a:gd name="T20" fmla="*/ 809 w 1146"/>
                <a:gd name="T21" fmla="*/ 112 h 1088"/>
                <a:gd name="T22" fmla="*/ 767 w 1146"/>
                <a:gd name="T23" fmla="*/ 88 h 1088"/>
                <a:gd name="T24" fmla="*/ 708 w 1146"/>
                <a:gd name="T25" fmla="*/ 48 h 1088"/>
                <a:gd name="T26" fmla="*/ 666 w 1146"/>
                <a:gd name="T27" fmla="*/ 0 h 1088"/>
                <a:gd name="T28" fmla="*/ 598 w 1146"/>
                <a:gd name="T29" fmla="*/ 24 h 1088"/>
                <a:gd name="T30" fmla="*/ 564 w 1146"/>
                <a:gd name="T31" fmla="*/ 104 h 1088"/>
                <a:gd name="T32" fmla="*/ 489 w 1146"/>
                <a:gd name="T33" fmla="*/ 136 h 1088"/>
                <a:gd name="T34" fmla="*/ 455 w 1146"/>
                <a:gd name="T35" fmla="*/ 168 h 1088"/>
                <a:gd name="T36" fmla="*/ 413 w 1146"/>
                <a:gd name="T37" fmla="*/ 184 h 1088"/>
                <a:gd name="T38" fmla="*/ 345 w 1146"/>
                <a:gd name="T39" fmla="*/ 160 h 1088"/>
                <a:gd name="T40" fmla="*/ 269 w 1146"/>
                <a:gd name="T41" fmla="*/ 144 h 1088"/>
                <a:gd name="T42" fmla="*/ 303 w 1146"/>
                <a:gd name="T43" fmla="*/ 256 h 1088"/>
                <a:gd name="T44" fmla="*/ 211 w 1146"/>
                <a:gd name="T45" fmla="*/ 240 h 1088"/>
                <a:gd name="T46" fmla="*/ 177 w 1146"/>
                <a:gd name="T47" fmla="*/ 232 h 1088"/>
                <a:gd name="T48" fmla="*/ 126 w 1146"/>
                <a:gd name="T49" fmla="*/ 208 h 1088"/>
                <a:gd name="T50" fmla="*/ 84 w 1146"/>
                <a:gd name="T51" fmla="*/ 216 h 1088"/>
                <a:gd name="T52" fmla="*/ 8 w 1146"/>
                <a:gd name="T53" fmla="*/ 232 h 1088"/>
                <a:gd name="T54" fmla="*/ 8 w 1146"/>
                <a:gd name="T55" fmla="*/ 248 h 1088"/>
                <a:gd name="T56" fmla="*/ 25 w 1146"/>
                <a:gd name="T57" fmla="*/ 272 h 1088"/>
                <a:gd name="T58" fmla="*/ 17 w 1146"/>
                <a:gd name="T59" fmla="*/ 288 h 1088"/>
                <a:gd name="T60" fmla="*/ 42 w 1146"/>
                <a:gd name="T61" fmla="*/ 312 h 1088"/>
                <a:gd name="T62" fmla="*/ 109 w 1146"/>
                <a:gd name="T63" fmla="*/ 328 h 1088"/>
                <a:gd name="T64" fmla="*/ 160 w 1146"/>
                <a:gd name="T65" fmla="*/ 368 h 1088"/>
                <a:gd name="T66" fmla="*/ 194 w 1146"/>
                <a:gd name="T67" fmla="*/ 400 h 1088"/>
                <a:gd name="T68" fmla="*/ 211 w 1146"/>
                <a:gd name="T69" fmla="*/ 448 h 1088"/>
                <a:gd name="T70" fmla="*/ 269 w 1146"/>
                <a:gd name="T71" fmla="*/ 536 h 1088"/>
                <a:gd name="T72" fmla="*/ 278 w 1146"/>
                <a:gd name="T73" fmla="*/ 584 h 1088"/>
                <a:gd name="T74" fmla="*/ 295 w 1146"/>
                <a:gd name="T75" fmla="*/ 640 h 1088"/>
                <a:gd name="T76" fmla="*/ 236 w 1146"/>
                <a:gd name="T77" fmla="*/ 776 h 1088"/>
                <a:gd name="T78" fmla="*/ 177 w 1146"/>
                <a:gd name="T79" fmla="*/ 872 h 1088"/>
                <a:gd name="T80" fmla="*/ 160 w 1146"/>
                <a:gd name="T81" fmla="*/ 888 h 1088"/>
                <a:gd name="T82" fmla="*/ 244 w 1146"/>
                <a:gd name="T83" fmla="*/ 960 h 1088"/>
                <a:gd name="T84" fmla="*/ 320 w 1146"/>
                <a:gd name="T85" fmla="*/ 992 h 1088"/>
                <a:gd name="T86" fmla="*/ 396 w 1146"/>
                <a:gd name="T87" fmla="*/ 1024 h 1088"/>
                <a:gd name="T88" fmla="*/ 522 w 1146"/>
                <a:gd name="T89" fmla="*/ 1056 h 1088"/>
                <a:gd name="T90" fmla="*/ 607 w 1146"/>
                <a:gd name="T91" fmla="*/ 1088 h 1088"/>
                <a:gd name="T92" fmla="*/ 640 w 1146"/>
                <a:gd name="T93" fmla="*/ 1064 h 1088"/>
                <a:gd name="T94" fmla="*/ 632 w 1146"/>
                <a:gd name="T95" fmla="*/ 992 h 1088"/>
                <a:gd name="T96" fmla="*/ 682 w 1146"/>
                <a:gd name="T97" fmla="*/ 944 h 1088"/>
                <a:gd name="T98" fmla="*/ 750 w 1146"/>
                <a:gd name="T99" fmla="*/ 928 h 1088"/>
                <a:gd name="T100" fmla="*/ 876 w 1146"/>
                <a:gd name="T101" fmla="*/ 968 h 1088"/>
                <a:gd name="T102" fmla="*/ 944 w 1146"/>
                <a:gd name="T103" fmla="*/ 984 h 1088"/>
                <a:gd name="T104" fmla="*/ 969 w 1146"/>
                <a:gd name="T105" fmla="*/ 968 h 1088"/>
                <a:gd name="T106" fmla="*/ 1019 w 1146"/>
                <a:gd name="T107" fmla="*/ 928 h 1088"/>
                <a:gd name="T108" fmla="*/ 1087 w 1146"/>
                <a:gd name="T109" fmla="*/ 864 h 1088"/>
                <a:gd name="T110" fmla="*/ 1019 w 1146"/>
                <a:gd name="T111" fmla="*/ 784 h 1088"/>
                <a:gd name="T112" fmla="*/ 1036 w 1146"/>
                <a:gd name="T113" fmla="*/ 720 h 1088"/>
                <a:gd name="T114" fmla="*/ 1036 w 1146"/>
                <a:gd name="T115" fmla="*/ 656 h 1088"/>
                <a:gd name="T116" fmla="*/ 1011 w 1146"/>
                <a:gd name="T117" fmla="*/ 616 h 10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146" h="1088">
                  <a:moveTo>
                    <a:pt x="1011" y="616"/>
                  </a:moveTo>
                  <a:lnTo>
                    <a:pt x="969" y="600"/>
                  </a:lnTo>
                  <a:lnTo>
                    <a:pt x="935" y="616"/>
                  </a:lnTo>
                  <a:lnTo>
                    <a:pt x="944" y="584"/>
                  </a:lnTo>
                  <a:lnTo>
                    <a:pt x="977" y="544"/>
                  </a:lnTo>
                  <a:lnTo>
                    <a:pt x="986" y="520"/>
                  </a:lnTo>
                  <a:lnTo>
                    <a:pt x="1011" y="504"/>
                  </a:lnTo>
                  <a:lnTo>
                    <a:pt x="1019" y="472"/>
                  </a:lnTo>
                  <a:lnTo>
                    <a:pt x="1053" y="464"/>
                  </a:lnTo>
                  <a:lnTo>
                    <a:pt x="1087" y="448"/>
                  </a:lnTo>
                  <a:lnTo>
                    <a:pt x="1104" y="360"/>
                  </a:lnTo>
                  <a:lnTo>
                    <a:pt x="1112" y="320"/>
                  </a:lnTo>
                  <a:lnTo>
                    <a:pt x="1146" y="288"/>
                  </a:lnTo>
                  <a:lnTo>
                    <a:pt x="1095" y="272"/>
                  </a:lnTo>
                  <a:lnTo>
                    <a:pt x="1036" y="256"/>
                  </a:lnTo>
                  <a:lnTo>
                    <a:pt x="1011" y="248"/>
                  </a:lnTo>
                  <a:lnTo>
                    <a:pt x="986" y="216"/>
                  </a:lnTo>
                  <a:lnTo>
                    <a:pt x="927" y="208"/>
                  </a:lnTo>
                  <a:lnTo>
                    <a:pt x="868" y="168"/>
                  </a:lnTo>
                  <a:lnTo>
                    <a:pt x="851" y="136"/>
                  </a:lnTo>
                  <a:lnTo>
                    <a:pt x="809" y="144"/>
                  </a:lnTo>
                  <a:lnTo>
                    <a:pt x="809" y="112"/>
                  </a:lnTo>
                  <a:lnTo>
                    <a:pt x="767" y="96"/>
                  </a:lnTo>
                  <a:lnTo>
                    <a:pt x="767" y="88"/>
                  </a:lnTo>
                  <a:lnTo>
                    <a:pt x="733" y="72"/>
                  </a:lnTo>
                  <a:lnTo>
                    <a:pt x="708" y="48"/>
                  </a:lnTo>
                  <a:lnTo>
                    <a:pt x="682" y="16"/>
                  </a:lnTo>
                  <a:lnTo>
                    <a:pt x="666" y="0"/>
                  </a:lnTo>
                  <a:lnTo>
                    <a:pt x="623" y="8"/>
                  </a:lnTo>
                  <a:lnTo>
                    <a:pt x="598" y="24"/>
                  </a:lnTo>
                  <a:lnTo>
                    <a:pt x="581" y="88"/>
                  </a:lnTo>
                  <a:lnTo>
                    <a:pt x="564" y="104"/>
                  </a:lnTo>
                  <a:lnTo>
                    <a:pt x="539" y="120"/>
                  </a:lnTo>
                  <a:lnTo>
                    <a:pt x="489" y="136"/>
                  </a:lnTo>
                  <a:lnTo>
                    <a:pt x="463" y="144"/>
                  </a:lnTo>
                  <a:lnTo>
                    <a:pt x="455" y="168"/>
                  </a:lnTo>
                  <a:lnTo>
                    <a:pt x="446" y="184"/>
                  </a:lnTo>
                  <a:lnTo>
                    <a:pt x="413" y="184"/>
                  </a:lnTo>
                  <a:lnTo>
                    <a:pt x="362" y="168"/>
                  </a:lnTo>
                  <a:lnTo>
                    <a:pt x="345" y="160"/>
                  </a:lnTo>
                  <a:lnTo>
                    <a:pt x="328" y="144"/>
                  </a:lnTo>
                  <a:lnTo>
                    <a:pt x="269" y="144"/>
                  </a:lnTo>
                  <a:lnTo>
                    <a:pt x="295" y="200"/>
                  </a:lnTo>
                  <a:lnTo>
                    <a:pt x="303" y="256"/>
                  </a:lnTo>
                  <a:lnTo>
                    <a:pt x="253" y="248"/>
                  </a:lnTo>
                  <a:lnTo>
                    <a:pt x="211" y="240"/>
                  </a:lnTo>
                  <a:lnTo>
                    <a:pt x="194" y="248"/>
                  </a:lnTo>
                  <a:lnTo>
                    <a:pt x="177" y="232"/>
                  </a:lnTo>
                  <a:lnTo>
                    <a:pt x="152" y="208"/>
                  </a:lnTo>
                  <a:lnTo>
                    <a:pt x="126" y="208"/>
                  </a:lnTo>
                  <a:lnTo>
                    <a:pt x="109" y="216"/>
                  </a:lnTo>
                  <a:lnTo>
                    <a:pt x="84" y="216"/>
                  </a:lnTo>
                  <a:lnTo>
                    <a:pt x="34" y="216"/>
                  </a:lnTo>
                  <a:lnTo>
                    <a:pt x="8" y="232"/>
                  </a:lnTo>
                  <a:lnTo>
                    <a:pt x="0" y="240"/>
                  </a:lnTo>
                  <a:lnTo>
                    <a:pt x="8" y="248"/>
                  </a:lnTo>
                  <a:lnTo>
                    <a:pt x="50" y="272"/>
                  </a:lnTo>
                  <a:lnTo>
                    <a:pt x="25" y="272"/>
                  </a:lnTo>
                  <a:lnTo>
                    <a:pt x="17" y="280"/>
                  </a:lnTo>
                  <a:lnTo>
                    <a:pt x="17" y="288"/>
                  </a:lnTo>
                  <a:lnTo>
                    <a:pt x="25" y="304"/>
                  </a:lnTo>
                  <a:lnTo>
                    <a:pt x="42" y="312"/>
                  </a:lnTo>
                  <a:lnTo>
                    <a:pt x="76" y="320"/>
                  </a:lnTo>
                  <a:lnTo>
                    <a:pt x="109" y="328"/>
                  </a:lnTo>
                  <a:lnTo>
                    <a:pt x="135" y="352"/>
                  </a:lnTo>
                  <a:lnTo>
                    <a:pt x="160" y="368"/>
                  </a:lnTo>
                  <a:lnTo>
                    <a:pt x="185" y="376"/>
                  </a:lnTo>
                  <a:lnTo>
                    <a:pt x="194" y="400"/>
                  </a:lnTo>
                  <a:lnTo>
                    <a:pt x="219" y="424"/>
                  </a:lnTo>
                  <a:lnTo>
                    <a:pt x="211" y="448"/>
                  </a:lnTo>
                  <a:lnTo>
                    <a:pt x="244" y="512"/>
                  </a:lnTo>
                  <a:lnTo>
                    <a:pt x="269" y="536"/>
                  </a:lnTo>
                  <a:lnTo>
                    <a:pt x="286" y="560"/>
                  </a:lnTo>
                  <a:lnTo>
                    <a:pt x="278" y="584"/>
                  </a:lnTo>
                  <a:lnTo>
                    <a:pt x="253" y="592"/>
                  </a:lnTo>
                  <a:lnTo>
                    <a:pt x="295" y="640"/>
                  </a:lnTo>
                  <a:lnTo>
                    <a:pt x="269" y="632"/>
                  </a:lnTo>
                  <a:lnTo>
                    <a:pt x="236" y="776"/>
                  </a:lnTo>
                  <a:lnTo>
                    <a:pt x="202" y="848"/>
                  </a:lnTo>
                  <a:lnTo>
                    <a:pt x="177" y="872"/>
                  </a:lnTo>
                  <a:lnTo>
                    <a:pt x="143" y="880"/>
                  </a:lnTo>
                  <a:lnTo>
                    <a:pt x="160" y="888"/>
                  </a:lnTo>
                  <a:lnTo>
                    <a:pt x="211" y="928"/>
                  </a:lnTo>
                  <a:lnTo>
                    <a:pt x="244" y="960"/>
                  </a:lnTo>
                  <a:lnTo>
                    <a:pt x="278" y="968"/>
                  </a:lnTo>
                  <a:lnTo>
                    <a:pt x="320" y="992"/>
                  </a:lnTo>
                  <a:lnTo>
                    <a:pt x="337" y="1016"/>
                  </a:lnTo>
                  <a:lnTo>
                    <a:pt x="396" y="1024"/>
                  </a:lnTo>
                  <a:lnTo>
                    <a:pt x="463" y="1032"/>
                  </a:lnTo>
                  <a:lnTo>
                    <a:pt x="522" y="1056"/>
                  </a:lnTo>
                  <a:lnTo>
                    <a:pt x="581" y="1072"/>
                  </a:lnTo>
                  <a:lnTo>
                    <a:pt x="607" y="1088"/>
                  </a:lnTo>
                  <a:lnTo>
                    <a:pt x="632" y="1080"/>
                  </a:lnTo>
                  <a:lnTo>
                    <a:pt x="640" y="1064"/>
                  </a:lnTo>
                  <a:lnTo>
                    <a:pt x="623" y="1032"/>
                  </a:lnTo>
                  <a:lnTo>
                    <a:pt x="632" y="992"/>
                  </a:lnTo>
                  <a:lnTo>
                    <a:pt x="649" y="968"/>
                  </a:lnTo>
                  <a:lnTo>
                    <a:pt x="682" y="944"/>
                  </a:lnTo>
                  <a:lnTo>
                    <a:pt x="716" y="928"/>
                  </a:lnTo>
                  <a:lnTo>
                    <a:pt x="750" y="928"/>
                  </a:lnTo>
                  <a:lnTo>
                    <a:pt x="842" y="952"/>
                  </a:lnTo>
                  <a:lnTo>
                    <a:pt x="876" y="968"/>
                  </a:lnTo>
                  <a:lnTo>
                    <a:pt x="910" y="984"/>
                  </a:lnTo>
                  <a:lnTo>
                    <a:pt x="944" y="984"/>
                  </a:lnTo>
                  <a:lnTo>
                    <a:pt x="960" y="976"/>
                  </a:lnTo>
                  <a:lnTo>
                    <a:pt x="969" y="968"/>
                  </a:lnTo>
                  <a:lnTo>
                    <a:pt x="977" y="960"/>
                  </a:lnTo>
                  <a:lnTo>
                    <a:pt x="1019" y="928"/>
                  </a:lnTo>
                  <a:lnTo>
                    <a:pt x="1070" y="904"/>
                  </a:lnTo>
                  <a:lnTo>
                    <a:pt x="1087" y="864"/>
                  </a:lnTo>
                  <a:lnTo>
                    <a:pt x="1011" y="832"/>
                  </a:lnTo>
                  <a:lnTo>
                    <a:pt x="1019" y="784"/>
                  </a:lnTo>
                  <a:lnTo>
                    <a:pt x="994" y="744"/>
                  </a:lnTo>
                  <a:lnTo>
                    <a:pt x="1036" y="720"/>
                  </a:lnTo>
                  <a:lnTo>
                    <a:pt x="1019" y="656"/>
                  </a:lnTo>
                  <a:lnTo>
                    <a:pt x="1036" y="656"/>
                  </a:lnTo>
                  <a:lnTo>
                    <a:pt x="1019" y="632"/>
                  </a:lnTo>
                  <a:lnTo>
                    <a:pt x="1011" y="6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79" name="Freeform 33"/>
            <p:cNvSpPr>
              <a:spLocks/>
            </p:cNvSpPr>
            <p:nvPr/>
          </p:nvSpPr>
          <p:spPr bwMode="auto">
            <a:xfrm>
              <a:off x="3457" y="3008"/>
              <a:ext cx="1180" cy="1080"/>
            </a:xfrm>
            <a:custGeom>
              <a:avLst/>
              <a:gdLst>
                <a:gd name="T0" fmla="*/ 1121 w 1180"/>
                <a:gd name="T1" fmla="*/ 728 h 1080"/>
                <a:gd name="T2" fmla="*/ 1003 w 1180"/>
                <a:gd name="T3" fmla="*/ 672 h 1080"/>
                <a:gd name="T4" fmla="*/ 935 w 1180"/>
                <a:gd name="T5" fmla="*/ 616 h 1080"/>
                <a:gd name="T6" fmla="*/ 902 w 1180"/>
                <a:gd name="T7" fmla="*/ 584 h 1080"/>
                <a:gd name="T8" fmla="*/ 817 w 1180"/>
                <a:gd name="T9" fmla="*/ 592 h 1080"/>
                <a:gd name="T10" fmla="*/ 733 w 1180"/>
                <a:gd name="T11" fmla="*/ 528 h 1080"/>
                <a:gd name="T12" fmla="*/ 683 w 1180"/>
                <a:gd name="T13" fmla="*/ 448 h 1080"/>
                <a:gd name="T14" fmla="*/ 556 w 1180"/>
                <a:gd name="T15" fmla="*/ 344 h 1080"/>
                <a:gd name="T16" fmla="*/ 523 w 1180"/>
                <a:gd name="T17" fmla="*/ 280 h 1080"/>
                <a:gd name="T18" fmla="*/ 548 w 1180"/>
                <a:gd name="T19" fmla="*/ 240 h 1080"/>
                <a:gd name="T20" fmla="*/ 531 w 1180"/>
                <a:gd name="T21" fmla="*/ 216 h 1080"/>
                <a:gd name="T22" fmla="*/ 556 w 1180"/>
                <a:gd name="T23" fmla="*/ 184 h 1080"/>
                <a:gd name="T24" fmla="*/ 649 w 1180"/>
                <a:gd name="T25" fmla="*/ 144 h 1080"/>
                <a:gd name="T26" fmla="*/ 649 w 1180"/>
                <a:gd name="T27" fmla="*/ 56 h 1080"/>
                <a:gd name="T28" fmla="*/ 514 w 1180"/>
                <a:gd name="T29" fmla="*/ 0 h 1080"/>
                <a:gd name="T30" fmla="*/ 405 w 1180"/>
                <a:gd name="T31" fmla="*/ 40 h 1080"/>
                <a:gd name="T32" fmla="*/ 354 w 1180"/>
                <a:gd name="T33" fmla="*/ 64 h 1080"/>
                <a:gd name="T34" fmla="*/ 295 w 1180"/>
                <a:gd name="T35" fmla="*/ 80 h 1080"/>
                <a:gd name="T36" fmla="*/ 228 w 1180"/>
                <a:gd name="T37" fmla="*/ 152 h 1080"/>
                <a:gd name="T38" fmla="*/ 118 w 1180"/>
                <a:gd name="T39" fmla="*/ 136 h 1080"/>
                <a:gd name="T40" fmla="*/ 42 w 1180"/>
                <a:gd name="T41" fmla="*/ 208 h 1080"/>
                <a:gd name="T42" fmla="*/ 25 w 1180"/>
                <a:gd name="T43" fmla="*/ 272 h 1080"/>
                <a:gd name="T44" fmla="*/ 93 w 1180"/>
                <a:gd name="T45" fmla="*/ 352 h 1080"/>
                <a:gd name="T46" fmla="*/ 93 w 1180"/>
                <a:gd name="T47" fmla="*/ 392 h 1080"/>
                <a:gd name="T48" fmla="*/ 160 w 1180"/>
                <a:gd name="T49" fmla="*/ 344 h 1080"/>
                <a:gd name="T50" fmla="*/ 202 w 1180"/>
                <a:gd name="T51" fmla="*/ 320 h 1080"/>
                <a:gd name="T52" fmla="*/ 261 w 1180"/>
                <a:gd name="T53" fmla="*/ 352 h 1080"/>
                <a:gd name="T54" fmla="*/ 312 w 1180"/>
                <a:gd name="T55" fmla="*/ 368 h 1080"/>
                <a:gd name="T56" fmla="*/ 337 w 1180"/>
                <a:gd name="T57" fmla="*/ 424 h 1080"/>
                <a:gd name="T58" fmla="*/ 371 w 1180"/>
                <a:gd name="T59" fmla="*/ 496 h 1080"/>
                <a:gd name="T60" fmla="*/ 430 w 1180"/>
                <a:gd name="T61" fmla="*/ 552 h 1080"/>
                <a:gd name="T62" fmla="*/ 497 w 1180"/>
                <a:gd name="T63" fmla="*/ 592 h 1080"/>
                <a:gd name="T64" fmla="*/ 607 w 1180"/>
                <a:gd name="T65" fmla="*/ 680 h 1080"/>
                <a:gd name="T66" fmla="*/ 649 w 1180"/>
                <a:gd name="T67" fmla="*/ 688 h 1080"/>
                <a:gd name="T68" fmla="*/ 742 w 1180"/>
                <a:gd name="T69" fmla="*/ 744 h 1080"/>
                <a:gd name="T70" fmla="*/ 775 w 1180"/>
                <a:gd name="T71" fmla="*/ 752 h 1080"/>
                <a:gd name="T72" fmla="*/ 809 w 1180"/>
                <a:gd name="T73" fmla="*/ 768 h 1080"/>
                <a:gd name="T74" fmla="*/ 851 w 1180"/>
                <a:gd name="T75" fmla="*/ 824 h 1080"/>
                <a:gd name="T76" fmla="*/ 927 w 1180"/>
                <a:gd name="T77" fmla="*/ 856 h 1080"/>
                <a:gd name="T78" fmla="*/ 978 w 1180"/>
                <a:gd name="T79" fmla="*/ 984 h 1080"/>
                <a:gd name="T80" fmla="*/ 935 w 1180"/>
                <a:gd name="T81" fmla="*/ 1000 h 1080"/>
                <a:gd name="T82" fmla="*/ 927 w 1180"/>
                <a:gd name="T83" fmla="*/ 1040 h 1080"/>
                <a:gd name="T84" fmla="*/ 935 w 1180"/>
                <a:gd name="T85" fmla="*/ 1072 h 1080"/>
                <a:gd name="T86" fmla="*/ 978 w 1180"/>
                <a:gd name="T87" fmla="*/ 1072 h 1080"/>
                <a:gd name="T88" fmla="*/ 1011 w 1180"/>
                <a:gd name="T89" fmla="*/ 1000 h 1080"/>
                <a:gd name="T90" fmla="*/ 1070 w 1180"/>
                <a:gd name="T91" fmla="*/ 952 h 1080"/>
                <a:gd name="T92" fmla="*/ 1053 w 1180"/>
                <a:gd name="T93" fmla="*/ 888 h 1080"/>
                <a:gd name="T94" fmla="*/ 1003 w 1180"/>
                <a:gd name="T95" fmla="*/ 864 h 1080"/>
                <a:gd name="T96" fmla="*/ 1011 w 1180"/>
                <a:gd name="T97" fmla="*/ 800 h 1080"/>
                <a:gd name="T98" fmla="*/ 1045 w 1180"/>
                <a:gd name="T99" fmla="*/ 768 h 1080"/>
                <a:gd name="T100" fmla="*/ 1146 w 1180"/>
                <a:gd name="T101" fmla="*/ 792 h 1080"/>
                <a:gd name="T102" fmla="*/ 1180 w 1180"/>
                <a:gd name="T103" fmla="*/ 784 h 1080"/>
                <a:gd name="T104" fmla="*/ 1155 w 1180"/>
                <a:gd name="T105" fmla="*/ 752 h 108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180" h="1080">
                  <a:moveTo>
                    <a:pt x="1155" y="752"/>
                  </a:moveTo>
                  <a:lnTo>
                    <a:pt x="1121" y="728"/>
                  </a:lnTo>
                  <a:lnTo>
                    <a:pt x="1087" y="712"/>
                  </a:lnTo>
                  <a:lnTo>
                    <a:pt x="1003" y="672"/>
                  </a:lnTo>
                  <a:lnTo>
                    <a:pt x="919" y="632"/>
                  </a:lnTo>
                  <a:lnTo>
                    <a:pt x="935" y="616"/>
                  </a:lnTo>
                  <a:lnTo>
                    <a:pt x="927" y="600"/>
                  </a:lnTo>
                  <a:lnTo>
                    <a:pt x="902" y="584"/>
                  </a:lnTo>
                  <a:lnTo>
                    <a:pt x="868" y="592"/>
                  </a:lnTo>
                  <a:lnTo>
                    <a:pt x="817" y="592"/>
                  </a:lnTo>
                  <a:lnTo>
                    <a:pt x="775" y="568"/>
                  </a:lnTo>
                  <a:lnTo>
                    <a:pt x="733" y="528"/>
                  </a:lnTo>
                  <a:lnTo>
                    <a:pt x="708" y="488"/>
                  </a:lnTo>
                  <a:lnTo>
                    <a:pt x="683" y="448"/>
                  </a:lnTo>
                  <a:lnTo>
                    <a:pt x="641" y="408"/>
                  </a:lnTo>
                  <a:lnTo>
                    <a:pt x="556" y="344"/>
                  </a:lnTo>
                  <a:lnTo>
                    <a:pt x="523" y="296"/>
                  </a:lnTo>
                  <a:lnTo>
                    <a:pt x="523" y="280"/>
                  </a:lnTo>
                  <a:lnTo>
                    <a:pt x="539" y="256"/>
                  </a:lnTo>
                  <a:lnTo>
                    <a:pt x="548" y="240"/>
                  </a:lnTo>
                  <a:lnTo>
                    <a:pt x="539" y="224"/>
                  </a:lnTo>
                  <a:lnTo>
                    <a:pt x="531" y="216"/>
                  </a:lnTo>
                  <a:lnTo>
                    <a:pt x="531" y="200"/>
                  </a:lnTo>
                  <a:lnTo>
                    <a:pt x="556" y="184"/>
                  </a:lnTo>
                  <a:lnTo>
                    <a:pt x="641" y="152"/>
                  </a:lnTo>
                  <a:lnTo>
                    <a:pt x="649" y="144"/>
                  </a:lnTo>
                  <a:lnTo>
                    <a:pt x="641" y="88"/>
                  </a:lnTo>
                  <a:lnTo>
                    <a:pt x="649" y="56"/>
                  </a:lnTo>
                  <a:lnTo>
                    <a:pt x="531" y="24"/>
                  </a:lnTo>
                  <a:lnTo>
                    <a:pt x="514" y="0"/>
                  </a:lnTo>
                  <a:lnTo>
                    <a:pt x="438" y="8"/>
                  </a:lnTo>
                  <a:lnTo>
                    <a:pt x="405" y="40"/>
                  </a:lnTo>
                  <a:lnTo>
                    <a:pt x="371" y="32"/>
                  </a:lnTo>
                  <a:lnTo>
                    <a:pt x="354" y="64"/>
                  </a:lnTo>
                  <a:lnTo>
                    <a:pt x="320" y="64"/>
                  </a:lnTo>
                  <a:lnTo>
                    <a:pt x="295" y="80"/>
                  </a:lnTo>
                  <a:lnTo>
                    <a:pt x="253" y="72"/>
                  </a:lnTo>
                  <a:lnTo>
                    <a:pt x="228" y="152"/>
                  </a:lnTo>
                  <a:lnTo>
                    <a:pt x="160" y="72"/>
                  </a:lnTo>
                  <a:lnTo>
                    <a:pt x="118" y="136"/>
                  </a:lnTo>
                  <a:lnTo>
                    <a:pt x="25" y="144"/>
                  </a:lnTo>
                  <a:lnTo>
                    <a:pt x="42" y="208"/>
                  </a:lnTo>
                  <a:lnTo>
                    <a:pt x="0" y="232"/>
                  </a:lnTo>
                  <a:lnTo>
                    <a:pt x="25" y="272"/>
                  </a:lnTo>
                  <a:lnTo>
                    <a:pt x="17" y="320"/>
                  </a:lnTo>
                  <a:lnTo>
                    <a:pt x="93" y="352"/>
                  </a:lnTo>
                  <a:lnTo>
                    <a:pt x="76" y="392"/>
                  </a:lnTo>
                  <a:lnTo>
                    <a:pt x="93" y="392"/>
                  </a:lnTo>
                  <a:lnTo>
                    <a:pt x="135" y="376"/>
                  </a:lnTo>
                  <a:lnTo>
                    <a:pt x="160" y="344"/>
                  </a:lnTo>
                  <a:lnTo>
                    <a:pt x="177" y="328"/>
                  </a:lnTo>
                  <a:lnTo>
                    <a:pt x="202" y="320"/>
                  </a:lnTo>
                  <a:lnTo>
                    <a:pt x="244" y="336"/>
                  </a:lnTo>
                  <a:lnTo>
                    <a:pt x="261" y="352"/>
                  </a:lnTo>
                  <a:lnTo>
                    <a:pt x="278" y="368"/>
                  </a:lnTo>
                  <a:lnTo>
                    <a:pt x="312" y="368"/>
                  </a:lnTo>
                  <a:lnTo>
                    <a:pt x="329" y="384"/>
                  </a:lnTo>
                  <a:lnTo>
                    <a:pt x="337" y="424"/>
                  </a:lnTo>
                  <a:lnTo>
                    <a:pt x="362" y="472"/>
                  </a:lnTo>
                  <a:lnTo>
                    <a:pt x="371" y="496"/>
                  </a:lnTo>
                  <a:lnTo>
                    <a:pt x="396" y="512"/>
                  </a:lnTo>
                  <a:lnTo>
                    <a:pt x="430" y="552"/>
                  </a:lnTo>
                  <a:lnTo>
                    <a:pt x="472" y="576"/>
                  </a:lnTo>
                  <a:lnTo>
                    <a:pt x="497" y="592"/>
                  </a:lnTo>
                  <a:lnTo>
                    <a:pt x="514" y="608"/>
                  </a:lnTo>
                  <a:lnTo>
                    <a:pt x="607" y="680"/>
                  </a:lnTo>
                  <a:lnTo>
                    <a:pt x="624" y="696"/>
                  </a:lnTo>
                  <a:lnTo>
                    <a:pt x="649" y="688"/>
                  </a:lnTo>
                  <a:lnTo>
                    <a:pt x="708" y="712"/>
                  </a:lnTo>
                  <a:lnTo>
                    <a:pt x="742" y="744"/>
                  </a:lnTo>
                  <a:lnTo>
                    <a:pt x="767" y="744"/>
                  </a:lnTo>
                  <a:lnTo>
                    <a:pt x="775" y="752"/>
                  </a:lnTo>
                  <a:lnTo>
                    <a:pt x="775" y="768"/>
                  </a:lnTo>
                  <a:lnTo>
                    <a:pt x="809" y="768"/>
                  </a:lnTo>
                  <a:lnTo>
                    <a:pt x="826" y="800"/>
                  </a:lnTo>
                  <a:lnTo>
                    <a:pt x="851" y="824"/>
                  </a:lnTo>
                  <a:lnTo>
                    <a:pt x="893" y="840"/>
                  </a:lnTo>
                  <a:lnTo>
                    <a:pt x="927" y="856"/>
                  </a:lnTo>
                  <a:lnTo>
                    <a:pt x="944" y="904"/>
                  </a:lnTo>
                  <a:lnTo>
                    <a:pt x="978" y="984"/>
                  </a:lnTo>
                  <a:lnTo>
                    <a:pt x="952" y="984"/>
                  </a:lnTo>
                  <a:lnTo>
                    <a:pt x="935" y="1000"/>
                  </a:lnTo>
                  <a:lnTo>
                    <a:pt x="935" y="1016"/>
                  </a:lnTo>
                  <a:lnTo>
                    <a:pt x="927" y="1040"/>
                  </a:lnTo>
                  <a:lnTo>
                    <a:pt x="919" y="1056"/>
                  </a:lnTo>
                  <a:lnTo>
                    <a:pt x="935" y="1072"/>
                  </a:lnTo>
                  <a:lnTo>
                    <a:pt x="952" y="1080"/>
                  </a:lnTo>
                  <a:lnTo>
                    <a:pt x="978" y="1072"/>
                  </a:lnTo>
                  <a:lnTo>
                    <a:pt x="994" y="1040"/>
                  </a:lnTo>
                  <a:lnTo>
                    <a:pt x="1011" y="1000"/>
                  </a:lnTo>
                  <a:lnTo>
                    <a:pt x="1028" y="960"/>
                  </a:lnTo>
                  <a:lnTo>
                    <a:pt x="1070" y="952"/>
                  </a:lnTo>
                  <a:lnTo>
                    <a:pt x="1070" y="904"/>
                  </a:lnTo>
                  <a:lnTo>
                    <a:pt x="1053" y="888"/>
                  </a:lnTo>
                  <a:lnTo>
                    <a:pt x="1028" y="880"/>
                  </a:lnTo>
                  <a:lnTo>
                    <a:pt x="1003" y="864"/>
                  </a:lnTo>
                  <a:lnTo>
                    <a:pt x="994" y="848"/>
                  </a:lnTo>
                  <a:lnTo>
                    <a:pt x="1011" y="800"/>
                  </a:lnTo>
                  <a:lnTo>
                    <a:pt x="1028" y="776"/>
                  </a:lnTo>
                  <a:lnTo>
                    <a:pt x="1045" y="768"/>
                  </a:lnTo>
                  <a:lnTo>
                    <a:pt x="1104" y="776"/>
                  </a:lnTo>
                  <a:lnTo>
                    <a:pt x="1146" y="792"/>
                  </a:lnTo>
                  <a:lnTo>
                    <a:pt x="1180" y="824"/>
                  </a:lnTo>
                  <a:lnTo>
                    <a:pt x="1180" y="784"/>
                  </a:lnTo>
                  <a:lnTo>
                    <a:pt x="1155" y="7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80" name="Freeform 34"/>
            <p:cNvSpPr>
              <a:spLocks/>
            </p:cNvSpPr>
            <p:nvPr/>
          </p:nvSpPr>
          <p:spPr bwMode="auto">
            <a:xfrm>
              <a:off x="2463" y="2496"/>
              <a:ext cx="1146" cy="1088"/>
            </a:xfrm>
            <a:custGeom>
              <a:avLst/>
              <a:gdLst>
                <a:gd name="T0" fmla="*/ 969 w 1146"/>
                <a:gd name="T1" fmla="*/ 600 h 1088"/>
                <a:gd name="T2" fmla="*/ 944 w 1146"/>
                <a:gd name="T3" fmla="*/ 584 h 1088"/>
                <a:gd name="T4" fmla="*/ 986 w 1146"/>
                <a:gd name="T5" fmla="*/ 520 h 1088"/>
                <a:gd name="T6" fmla="*/ 1019 w 1146"/>
                <a:gd name="T7" fmla="*/ 472 h 1088"/>
                <a:gd name="T8" fmla="*/ 1087 w 1146"/>
                <a:gd name="T9" fmla="*/ 448 h 1088"/>
                <a:gd name="T10" fmla="*/ 1112 w 1146"/>
                <a:gd name="T11" fmla="*/ 320 h 1088"/>
                <a:gd name="T12" fmla="*/ 1095 w 1146"/>
                <a:gd name="T13" fmla="*/ 272 h 1088"/>
                <a:gd name="T14" fmla="*/ 1011 w 1146"/>
                <a:gd name="T15" fmla="*/ 248 h 1088"/>
                <a:gd name="T16" fmla="*/ 927 w 1146"/>
                <a:gd name="T17" fmla="*/ 208 h 1088"/>
                <a:gd name="T18" fmla="*/ 851 w 1146"/>
                <a:gd name="T19" fmla="*/ 136 h 1088"/>
                <a:gd name="T20" fmla="*/ 809 w 1146"/>
                <a:gd name="T21" fmla="*/ 112 h 1088"/>
                <a:gd name="T22" fmla="*/ 767 w 1146"/>
                <a:gd name="T23" fmla="*/ 88 h 1088"/>
                <a:gd name="T24" fmla="*/ 708 w 1146"/>
                <a:gd name="T25" fmla="*/ 48 h 1088"/>
                <a:gd name="T26" fmla="*/ 666 w 1146"/>
                <a:gd name="T27" fmla="*/ 0 h 1088"/>
                <a:gd name="T28" fmla="*/ 598 w 1146"/>
                <a:gd name="T29" fmla="*/ 24 h 1088"/>
                <a:gd name="T30" fmla="*/ 564 w 1146"/>
                <a:gd name="T31" fmla="*/ 104 h 1088"/>
                <a:gd name="T32" fmla="*/ 489 w 1146"/>
                <a:gd name="T33" fmla="*/ 136 h 1088"/>
                <a:gd name="T34" fmla="*/ 455 w 1146"/>
                <a:gd name="T35" fmla="*/ 168 h 1088"/>
                <a:gd name="T36" fmla="*/ 413 w 1146"/>
                <a:gd name="T37" fmla="*/ 184 h 1088"/>
                <a:gd name="T38" fmla="*/ 345 w 1146"/>
                <a:gd name="T39" fmla="*/ 160 h 1088"/>
                <a:gd name="T40" fmla="*/ 269 w 1146"/>
                <a:gd name="T41" fmla="*/ 144 h 1088"/>
                <a:gd name="T42" fmla="*/ 303 w 1146"/>
                <a:gd name="T43" fmla="*/ 256 h 1088"/>
                <a:gd name="T44" fmla="*/ 211 w 1146"/>
                <a:gd name="T45" fmla="*/ 240 h 1088"/>
                <a:gd name="T46" fmla="*/ 177 w 1146"/>
                <a:gd name="T47" fmla="*/ 232 h 1088"/>
                <a:gd name="T48" fmla="*/ 126 w 1146"/>
                <a:gd name="T49" fmla="*/ 208 h 1088"/>
                <a:gd name="T50" fmla="*/ 84 w 1146"/>
                <a:gd name="T51" fmla="*/ 216 h 1088"/>
                <a:gd name="T52" fmla="*/ 8 w 1146"/>
                <a:gd name="T53" fmla="*/ 232 h 1088"/>
                <a:gd name="T54" fmla="*/ 8 w 1146"/>
                <a:gd name="T55" fmla="*/ 248 h 1088"/>
                <a:gd name="T56" fmla="*/ 25 w 1146"/>
                <a:gd name="T57" fmla="*/ 272 h 1088"/>
                <a:gd name="T58" fmla="*/ 17 w 1146"/>
                <a:gd name="T59" fmla="*/ 288 h 1088"/>
                <a:gd name="T60" fmla="*/ 42 w 1146"/>
                <a:gd name="T61" fmla="*/ 312 h 1088"/>
                <a:gd name="T62" fmla="*/ 109 w 1146"/>
                <a:gd name="T63" fmla="*/ 328 h 1088"/>
                <a:gd name="T64" fmla="*/ 160 w 1146"/>
                <a:gd name="T65" fmla="*/ 368 h 1088"/>
                <a:gd name="T66" fmla="*/ 194 w 1146"/>
                <a:gd name="T67" fmla="*/ 400 h 1088"/>
                <a:gd name="T68" fmla="*/ 211 w 1146"/>
                <a:gd name="T69" fmla="*/ 448 h 1088"/>
                <a:gd name="T70" fmla="*/ 269 w 1146"/>
                <a:gd name="T71" fmla="*/ 536 h 1088"/>
                <a:gd name="T72" fmla="*/ 278 w 1146"/>
                <a:gd name="T73" fmla="*/ 584 h 1088"/>
                <a:gd name="T74" fmla="*/ 295 w 1146"/>
                <a:gd name="T75" fmla="*/ 640 h 1088"/>
                <a:gd name="T76" fmla="*/ 236 w 1146"/>
                <a:gd name="T77" fmla="*/ 776 h 1088"/>
                <a:gd name="T78" fmla="*/ 177 w 1146"/>
                <a:gd name="T79" fmla="*/ 872 h 1088"/>
                <a:gd name="T80" fmla="*/ 160 w 1146"/>
                <a:gd name="T81" fmla="*/ 888 h 1088"/>
                <a:gd name="T82" fmla="*/ 244 w 1146"/>
                <a:gd name="T83" fmla="*/ 960 h 1088"/>
                <a:gd name="T84" fmla="*/ 320 w 1146"/>
                <a:gd name="T85" fmla="*/ 992 h 1088"/>
                <a:gd name="T86" fmla="*/ 396 w 1146"/>
                <a:gd name="T87" fmla="*/ 1024 h 1088"/>
                <a:gd name="T88" fmla="*/ 522 w 1146"/>
                <a:gd name="T89" fmla="*/ 1056 h 1088"/>
                <a:gd name="T90" fmla="*/ 607 w 1146"/>
                <a:gd name="T91" fmla="*/ 1088 h 1088"/>
                <a:gd name="T92" fmla="*/ 632 w 1146"/>
                <a:gd name="T93" fmla="*/ 1080 h 1088"/>
                <a:gd name="T94" fmla="*/ 623 w 1146"/>
                <a:gd name="T95" fmla="*/ 1032 h 1088"/>
                <a:gd name="T96" fmla="*/ 649 w 1146"/>
                <a:gd name="T97" fmla="*/ 968 h 1088"/>
                <a:gd name="T98" fmla="*/ 716 w 1146"/>
                <a:gd name="T99" fmla="*/ 928 h 1088"/>
                <a:gd name="T100" fmla="*/ 842 w 1146"/>
                <a:gd name="T101" fmla="*/ 952 h 1088"/>
                <a:gd name="T102" fmla="*/ 910 w 1146"/>
                <a:gd name="T103" fmla="*/ 984 h 1088"/>
                <a:gd name="T104" fmla="*/ 960 w 1146"/>
                <a:gd name="T105" fmla="*/ 976 h 1088"/>
                <a:gd name="T106" fmla="*/ 977 w 1146"/>
                <a:gd name="T107" fmla="*/ 960 h 1088"/>
                <a:gd name="T108" fmla="*/ 1070 w 1146"/>
                <a:gd name="T109" fmla="*/ 904 h 1088"/>
                <a:gd name="T110" fmla="*/ 1011 w 1146"/>
                <a:gd name="T111" fmla="*/ 832 h 1088"/>
                <a:gd name="T112" fmla="*/ 994 w 1146"/>
                <a:gd name="T113" fmla="*/ 744 h 1088"/>
                <a:gd name="T114" fmla="*/ 1019 w 1146"/>
                <a:gd name="T115" fmla="*/ 656 h 1088"/>
                <a:gd name="T116" fmla="*/ 1019 w 1146"/>
                <a:gd name="T117" fmla="*/ 632 h 10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146" h="1088">
                  <a:moveTo>
                    <a:pt x="1011" y="616"/>
                  </a:moveTo>
                  <a:lnTo>
                    <a:pt x="969" y="600"/>
                  </a:lnTo>
                  <a:lnTo>
                    <a:pt x="935" y="616"/>
                  </a:lnTo>
                  <a:lnTo>
                    <a:pt x="944" y="584"/>
                  </a:lnTo>
                  <a:lnTo>
                    <a:pt x="977" y="544"/>
                  </a:lnTo>
                  <a:lnTo>
                    <a:pt x="986" y="520"/>
                  </a:lnTo>
                  <a:lnTo>
                    <a:pt x="1011" y="504"/>
                  </a:lnTo>
                  <a:lnTo>
                    <a:pt x="1019" y="472"/>
                  </a:lnTo>
                  <a:lnTo>
                    <a:pt x="1053" y="464"/>
                  </a:lnTo>
                  <a:lnTo>
                    <a:pt x="1087" y="448"/>
                  </a:lnTo>
                  <a:lnTo>
                    <a:pt x="1104" y="360"/>
                  </a:lnTo>
                  <a:lnTo>
                    <a:pt x="1112" y="320"/>
                  </a:lnTo>
                  <a:lnTo>
                    <a:pt x="1146" y="288"/>
                  </a:lnTo>
                  <a:lnTo>
                    <a:pt x="1095" y="272"/>
                  </a:lnTo>
                  <a:lnTo>
                    <a:pt x="1036" y="256"/>
                  </a:lnTo>
                  <a:lnTo>
                    <a:pt x="1011" y="248"/>
                  </a:lnTo>
                  <a:lnTo>
                    <a:pt x="986" y="216"/>
                  </a:lnTo>
                  <a:lnTo>
                    <a:pt x="927" y="208"/>
                  </a:lnTo>
                  <a:lnTo>
                    <a:pt x="868" y="168"/>
                  </a:lnTo>
                  <a:lnTo>
                    <a:pt x="851" y="136"/>
                  </a:lnTo>
                  <a:lnTo>
                    <a:pt x="809" y="144"/>
                  </a:lnTo>
                  <a:lnTo>
                    <a:pt x="809" y="112"/>
                  </a:lnTo>
                  <a:lnTo>
                    <a:pt x="767" y="96"/>
                  </a:lnTo>
                  <a:lnTo>
                    <a:pt x="767" y="88"/>
                  </a:lnTo>
                  <a:lnTo>
                    <a:pt x="733" y="72"/>
                  </a:lnTo>
                  <a:lnTo>
                    <a:pt x="708" y="48"/>
                  </a:lnTo>
                  <a:lnTo>
                    <a:pt x="682" y="16"/>
                  </a:lnTo>
                  <a:lnTo>
                    <a:pt x="666" y="0"/>
                  </a:lnTo>
                  <a:lnTo>
                    <a:pt x="623" y="8"/>
                  </a:lnTo>
                  <a:lnTo>
                    <a:pt x="598" y="24"/>
                  </a:lnTo>
                  <a:lnTo>
                    <a:pt x="581" y="88"/>
                  </a:lnTo>
                  <a:lnTo>
                    <a:pt x="564" y="104"/>
                  </a:lnTo>
                  <a:lnTo>
                    <a:pt x="539" y="120"/>
                  </a:lnTo>
                  <a:lnTo>
                    <a:pt x="489" y="136"/>
                  </a:lnTo>
                  <a:lnTo>
                    <a:pt x="463" y="144"/>
                  </a:lnTo>
                  <a:lnTo>
                    <a:pt x="455" y="168"/>
                  </a:lnTo>
                  <a:lnTo>
                    <a:pt x="446" y="184"/>
                  </a:lnTo>
                  <a:lnTo>
                    <a:pt x="413" y="184"/>
                  </a:lnTo>
                  <a:lnTo>
                    <a:pt x="362" y="168"/>
                  </a:lnTo>
                  <a:lnTo>
                    <a:pt x="345" y="160"/>
                  </a:lnTo>
                  <a:lnTo>
                    <a:pt x="328" y="144"/>
                  </a:lnTo>
                  <a:lnTo>
                    <a:pt x="269" y="144"/>
                  </a:lnTo>
                  <a:lnTo>
                    <a:pt x="295" y="200"/>
                  </a:lnTo>
                  <a:lnTo>
                    <a:pt x="303" y="256"/>
                  </a:lnTo>
                  <a:lnTo>
                    <a:pt x="253" y="248"/>
                  </a:lnTo>
                  <a:lnTo>
                    <a:pt x="211" y="240"/>
                  </a:lnTo>
                  <a:lnTo>
                    <a:pt x="194" y="248"/>
                  </a:lnTo>
                  <a:lnTo>
                    <a:pt x="177" y="232"/>
                  </a:lnTo>
                  <a:lnTo>
                    <a:pt x="152" y="208"/>
                  </a:lnTo>
                  <a:lnTo>
                    <a:pt x="126" y="208"/>
                  </a:lnTo>
                  <a:lnTo>
                    <a:pt x="109" y="216"/>
                  </a:lnTo>
                  <a:lnTo>
                    <a:pt x="84" y="216"/>
                  </a:lnTo>
                  <a:lnTo>
                    <a:pt x="34" y="216"/>
                  </a:lnTo>
                  <a:lnTo>
                    <a:pt x="8" y="232"/>
                  </a:lnTo>
                  <a:lnTo>
                    <a:pt x="0" y="240"/>
                  </a:lnTo>
                  <a:lnTo>
                    <a:pt x="8" y="248"/>
                  </a:lnTo>
                  <a:lnTo>
                    <a:pt x="50" y="272"/>
                  </a:lnTo>
                  <a:lnTo>
                    <a:pt x="25" y="272"/>
                  </a:lnTo>
                  <a:lnTo>
                    <a:pt x="17" y="280"/>
                  </a:lnTo>
                  <a:lnTo>
                    <a:pt x="17" y="288"/>
                  </a:lnTo>
                  <a:lnTo>
                    <a:pt x="25" y="304"/>
                  </a:lnTo>
                  <a:lnTo>
                    <a:pt x="42" y="312"/>
                  </a:lnTo>
                  <a:lnTo>
                    <a:pt x="76" y="320"/>
                  </a:lnTo>
                  <a:lnTo>
                    <a:pt x="109" y="328"/>
                  </a:lnTo>
                  <a:lnTo>
                    <a:pt x="135" y="352"/>
                  </a:lnTo>
                  <a:lnTo>
                    <a:pt x="160" y="368"/>
                  </a:lnTo>
                  <a:lnTo>
                    <a:pt x="185" y="376"/>
                  </a:lnTo>
                  <a:lnTo>
                    <a:pt x="194" y="400"/>
                  </a:lnTo>
                  <a:lnTo>
                    <a:pt x="219" y="424"/>
                  </a:lnTo>
                  <a:lnTo>
                    <a:pt x="211" y="448"/>
                  </a:lnTo>
                  <a:lnTo>
                    <a:pt x="244" y="512"/>
                  </a:lnTo>
                  <a:lnTo>
                    <a:pt x="269" y="536"/>
                  </a:lnTo>
                  <a:lnTo>
                    <a:pt x="286" y="560"/>
                  </a:lnTo>
                  <a:lnTo>
                    <a:pt x="278" y="584"/>
                  </a:lnTo>
                  <a:lnTo>
                    <a:pt x="253" y="592"/>
                  </a:lnTo>
                  <a:lnTo>
                    <a:pt x="295" y="640"/>
                  </a:lnTo>
                  <a:lnTo>
                    <a:pt x="269" y="632"/>
                  </a:lnTo>
                  <a:lnTo>
                    <a:pt x="236" y="776"/>
                  </a:lnTo>
                  <a:lnTo>
                    <a:pt x="202" y="848"/>
                  </a:lnTo>
                  <a:lnTo>
                    <a:pt x="177" y="872"/>
                  </a:lnTo>
                  <a:lnTo>
                    <a:pt x="143" y="880"/>
                  </a:lnTo>
                  <a:lnTo>
                    <a:pt x="160" y="888"/>
                  </a:lnTo>
                  <a:lnTo>
                    <a:pt x="211" y="928"/>
                  </a:lnTo>
                  <a:lnTo>
                    <a:pt x="244" y="960"/>
                  </a:lnTo>
                  <a:lnTo>
                    <a:pt x="278" y="968"/>
                  </a:lnTo>
                  <a:lnTo>
                    <a:pt x="320" y="992"/>
                  </a:lnTo>
                  <a:lnTo>
                    <a:pt x="337" y="1016"/>
                  </a:lnTo>
                  <a:lnTo>
                    <a:pt x="396" y="1024"/>
                  </a:lnTo>
                  <a:lnTo>
                    <a:pt x="463" y="1032"/>
                  </a:lnTo>
                  <a:lnTo>
                    <a:pt x="522" y="1056"/>
                  </a:lnTo>
                  <a:lnTo>
                    <a:pt x="581" y="1072"/>
                  </a:lnTo>
                  <a:lnTo>
                    <a:pt x="607" y="1088"/>
                  </a:lnTo>
                  <a:lnTo>
                    <a:pt x="632" y="1080"/>
                  </a:lnTo>
                  <a:lnTo>
                    <a:pt x="640" y="1064"/>
                  </a:lnTo>
                  <a:lnTo>
                    <a:pt x="623" y="1032"/>
                  </a:lnTo>
                  <a:lnTo>
                    <a:pt x="632" y="992"/>
                  </a:lnTo>
                  <a:lnTo>
                    <a:pt x="649" y="968"/>
                  </a:lnTo>
                  <a:lnTo>
                    <a:pt x="682" y="944"/>
                  </a:lnTo>
                  <a:lnTo>
                    <a:pt x="716" y="928"/>
                  </a:lnTo>
                  <a:lnTo>
                    <a:pt x="750" y="928"/>
                  </a:lnTo>
                  <a:lnTo>
                    <a:pt x="842" y="952"/>
                  </a:lnTo>
                  <a:lnTo>
                    <a:pt x="876" y="968"/>
                  </a:lnTo>
                  <a:lnTo>
                    <a:pt x="910" y="984"/>
                  </a:lnTo>
                  <a:lnTo>
                    <a:pt x="944" y="984"/>
                  </a:lnTo>
                  <a:lnTo>
                    <a:pt x="960" y="976"/>
                  </a:lnTo>
                  <a:lnTo>
                    <a:pt x="969" y="968"/>
                  </a:lnTo>
                  <a:lnTo>
                    <a:pt x="977" y="960"/>
                  </a:lnTo>
                  <a:lnTo>
                    <a:pt x="1019" y="928"/>
                  </a:lnTo>
                  <a:lnTo>
                    <a:pt x="1070" y="904"/>
                  </a:lnTo>
                  <a:lnTo>
                    <a:pt x="1087" y="864"/>
                  </a:lnTo>
                  <a:lnTo>
                    <a:pt x="1011" y="832"/>
                  </a:lnTo>
                  <a:lnTo>
                    <a:pt x="1019" y="784"/>
                  </a:lnTo>
                  <a:lnTo>
                    <a:pt x="994" y="744"/>
                  </a:lnTo>
                  <a:lnTo>
                    <a:pt x="1036" y="720"/>
                  </a:lnTo>
                  <a:lnTo>
                    <a:pt x="1019" y="656"/>
                  </a:lnTo>
                  <a:lnTo>
                    <a:pt x="1036" y="656"/>
                  </a:lnTo>
                  <a:lnTo>
                    <a:pt x="1019" y="632"/>
                  </a:lnTo>
                  <a:lnTo>
                    <a:pt x="1011" y="6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A7A8AA"/>
                </a:solidFill>
              </a:endParaRPr>
            </a:p>
          </p:txBody>
        </p:sp>
        <p:sp>
          <p:nvSpPr>
            <p:cNvPr id="81" name="Freeform 35"/>
            <p:cNvSpPr>
              <a:spLocks/>
            </p:cNvSpPr>
            <p:nvPr/>
          </p:nvSpPr>
          <p:spPr bwMode="auto">
            <a:xfrm>
              <a:off x="3129" y="2472"/>
              <a:ext cx="328" cy="232"/>
            </a:xfrm>
            <a:custGeom>
              <a:avLst/>
              <a:gdLst>
                <a:gd name="T0" fmla="*/ 278 w 328"/>
                <a:gd name="T1" fmla="*/ 184 h 232"/>
                <a:gd name="T2" fmla="*/ 286 w 328"/>
                <a:gd name="T3" fmla="*/ 168 h 232"/>
                <a:gd name="T4" fmla="*/ 311 w 328"/>
                <a:gd name="T5" fmla="*/ 160 h 232"/>
                <a:gd name="T6" fmla="*/ 328 w 328"/>
                <a:gd name="T7" fmla="*/ 144 h 232"/>
                <a:gd name="T8" fmla="*/ 328 w 328"/>
                <a:gd name="T9" fmla="*/ 112 h 232"/>
                <a:gd name="T10" fmla="*/ 303 w 328"/>
                <a:gd name="T11" fmla="*/ 88 h 232"/>
                <a:gd name="T12" fmla="*/ 269 w 328"/>
                <a:gd name="T13" fmla="*/ 72 h 232"/>
                <a:gd name="T14" fmla="*/ 278 w 328"/>
                <a:gd name="T15" fmla="*/ 48 h 232"/>
                <a:gd name="T16" fmla="*/ 261 w 328"/>
                <a:gd name="T17" fmla="*/ 24 h 232"/>
                <a:gd name="T18" fmla="*/ 219 w 328"/>
                <a:gd name="T19" fmla="*/ 16 h 232"/>
                <a:gd name="T20" fmla="*/ 168 w 328"/>
                <a:gd name="T21" fmla="*/ 8 h 232"/>
                <a:gd name="T22" fmla="*/ 134 w 328"/>
                <a:gd name="T23" fmla="*/ 24 h 232"/>
                <a:gd name="T24" fmla="*/ 101 w 328"/>
                <a:gd name="T25" fmla="*/ 16 h 232"/>
                <a:gd name="T26" fmla="*/ 75 w 328"/>
                <a:gd name="T27" fmla="*/ 0 h 232"/>
                <a:gd name="T28" fmla="*/ 42 w 328"/>
                <a:gd name="T29" fmla="*/ 16 h 232"/>
                <a:gd name="T30" fmla="*/ 0 w 328"/>
                <a:gd name="T31" fmla="*/ 24 h 232"/>
                <a:gd name="T32" fmla="*/ 16 w 328"/>
                <a:gd name="T33" fmla="*/ 40 h 232"/>
                <a:gd name="T34" fmla="*/ 42 w 328"/>
                <a:gd name="T35" fmla="*/ 72 h 232"/>
                <a:gd name="T36" fmla="*/ 67 w 328"/>
                <a:gd name="T37" fmla="*/ 96 h 232"/>
                <a:gd name="T38" fmla="*/ 101 w 328"/>
                <a:gd name="T39" fmla="*/ 112 h 232"/>
                <a:gd name="T40" fmla="*/ 101 w 328"/>
                <a:gd name="T41" fmla="*/ 120 h 232"/>
                <a:gd name="T42" fmla="*/ 143 w 328"/>
                <a:gd name="T43" fmla="*/ 136 h 232"/>
                <a:gd name="T44" fmla="*/ 143 w 328"/>
                <a:gd name="T45" fmla="*/ 168 h 232"/>
                <a:gd name="T46" fmla="*/ 185 w 328"/>
                <a:gd name="T47" fmla="*/ 160 h 232"/>
                <a:gd name="T48" fmla="*/ 202 w 328"/>
                <a:gd name="T49" fmla="*/ 192 h 232"/>
                <a:gd name="T50" fmla="*/ 261 w 328"/>
                <a:gd name="T51" fmla="*/ 232 h 232"/>
                <a:gd name="T52" fmla="*/ 278 w 328"/>
                <a:gd name="T53" fmla="*/ 232 h 232"/>
                <a:gd name="T54" fmla="*/ 278 w 328"/>
                <a:gd name="T55" fmla="*/ 208 h 232"/>
                <a:gd name="T56" fmla="*/ 278 w 328"/>
                <a:gd name="T57" fmla="*/ 184 h 23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28" h="232">
                  <a:moveTo>
                    <a:pt x="278" y="184"/>
                  </a:moveTo>
                  <a:lnTo>
                    <a:pt x="286" y="168"/>
                  </a:lnTo>
                  <a:lnTo>
                    <a:pt x="311" y="160"/>
                  </a:lnTo>
                  <a:lnTo>
                    <a:pt x="328" y="144"/>
                  </a:lnTo>
                  <a:lnTo>
                    <a:pt x="328" y="112"/>
                  </a:lnTo>
                  <a:lnTo>
                    <a:pt x="303" y="88"/>
                  </a:lnTo>
                  <a:lnTo>
                    <a:pt x="269" y="72"/>
                  </a:lnTo>
                  <a:lnTo>
                    <a:pt x="278" y="48"/>
                  </a:lnTo>
                  <a:lnTo>
                    <a:pt x="261" y="24"/>
                  </a:lnTo>
                  <a:lnTo>
                    <a:pt x="219" y="16"/>
                  </a:lnTo>
                  <a:lnTo>
                    <a:pt x="168" y="8"/>
                  </a:lnTo>
                  <a:lnTo>
                    <a:pt x="134" y="24"/>
                  </a:lnTo>
                  <a:lnTo>
                    <a:pt x="101" y="16"/>
                  </a:lnTo>
                  <a:lnTo>
                    <a:pt x="75" y="0"/>
                  </a:lnTo>
                  <a:lnTo>
                    <a:pt x="42" y="16"/>
                  </a:lnTo>
                  <a:lnTo>
                    <a:pt x="0" y="24"/>
                  </a:lnTo>
                  <a:lnTo>
                    <a:pt x="16" y="40"/>
                  </a:lnTo>
                  <a:lnTo>
                    <a:pt x="42" y="72"/>
                  </a:lnTo>
                  <a:lnTo>
                    <a:pt x="67" y="96"/>
                  </a:lnTo>
                  <a:lnTo>
                    <a:pt x="101" y="112"/>
                  </a:lnTo>
                  <a:lnTo>
                    <a:pt x="101" y="120"/>
                  </a:lnTo>
                  <a:lnTo>
                    <a:pt x="143" y="136"/>
                  </a:lnTo>
                  <a:lnTo>
                    <a:pt x="143" y="168"/>
                  </a:lnTo>
                  <a:lnTo>
                    <a:pt x="185" y="160"/>
                  </a:lnTo>
                  <a:lnTo>
                    <a:pt x="202" y="192"/>
                  </a:lnTo>
                  <a:lnTo>
                    <a:pt x="261" y="232"/>
                  </a:lnTo>
                  <a:lnTo>
                    <a:pt x="278" y="232"/>
                  </a:lnTo>
                  <a:lnTo>
                    <a:pt x="278" y="208"/>
                  </a:lnTo>
                  <a:lnTo>
                    <a:pt x="278" y="18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82" name="Freeform 36"/>
            <p:cNvSpPr>
              <a:spLocks/>
            </p:cNvSpPr>
            <p:nvPr/>
          </p:nvSpPr>
          <p:spPr bwMode="auto">
            <a:xfrm>
              <a:off x="3407" y="2632"/>
              <a:ext cx="59" cy="80"/>
            </a:xfrm>
            <a:custGeom>
              <a:avLst/>
              <a:gdLst>
                <a:gd name="T0" fmla="*/ 25 w 59"/>
                <a:gd name="T1" fmla="*/ 24 h 80"/>
                <a:gd name="T2" fmla="*/ 25 w 59"/>
                <a:gd name="T3" fmla="*/ 0 h 80"/>
                <a:gd name="T4" fmla="*/ 8 w 59"/>
                <a:gd name="T5" fmla="*/ 8 h 80"/>
                <a:gd name="T6" fmla="*/ 0 w 59"/>
                <a:gd name="T7" fmla="*/ 24 h 80"/>
                <a:gd name="T8" fmla="*/ 0 w 59"/>
                <a:gd name="T9" fmla="*/ 48 h 80"/>
                <a:gd name="T10" fmla="*/ 0 w 59"/>
                <a:gd name="T11" fmla="*/ 72 h 80"/>
                <a:gd name="T12" fmla="*/ 42 w 59"/>
                <a:gd name="T13" fmla="*/ 80 h 80"/>
                <a:gd name="T14" fmla="*/ 59 w 59"/>
                <a:gd name="T15" fmla="*/ 48 h 80"/>
                <a:gd name="T16" fmla="*/ 25 w 59"/>
                <a:gd name="T17" fmla="*/ 24 h 8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9" h="80">
                  <a:moveTo>
                    <a:pt x="25" y="24"/>
                  </a:moveTo>
                  <a:lnTo>
                    <a:pt x="25" y="0"/>
                  </a:lnTo>
                  <a:lnTo>
                    <a:pt x="8" y="8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0" y="72"/>
                  </a:lnTo>
                  <a:lnTo>
                    <a:pt x="42" y="80"/>
                  </a:lnTo>
                  <a:lnTo>
                    <a:pt x="59" y="48"/>
                  </a:lnTo>
                  <a:lnTo>
                    <a:pt x="25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83" name="Freeform 37"/>
            <p:cNvSpPr>
              <a:spLocks/>
            </p:cNvSpPr>
            <p:nvPr/>
          </p:nvSpPr>
          <p:spPr bwMode="auto">
            <a:xfrm>
              <a:off x="3204" y="2232"/>
              <a:ext cx="337" cy="320"/>
            </a:xfrm>
            <a:custGeom>
              <a:avLst/>
              <a:gdLst>
                <a:gd name="T0" fmla="*/ 236 w 337"/>
                <a:gd name="T1" fmla="*/ 280 h 320"/>
                <a:gd name="T2" fmla="*/ 236 w 337"/>
                <a:gd name="T3" fmla="*/ 232 h 320"/>
                <a:gd name="T4" fmla="*/ 236 w 337"/>
                <a:gd name="T5" fmla="*/ 200 h 320"/>
                <a:gd name="T6" fmla="*/ 287 w 337"/>
                <a:gd name="T7" fmla="*/ 192 h 320"/>
                <a:gd name="T8" fmla="*/ 287 w 337"/>
                <a:gd name="T9" fmla="*/ 168 h 320"/>
                <a:gd name="T10" fmla="*/ 312 w 337"/>
                <a:gd name="T11" fmla="*/ 160 h 320"/>
                <a:gd name="T12" fmla="*/ 321 w 337"/>
                <a:gd name="T13" fmla="*/ 128 h 320"/>
                <a:gd name="T14" fmla="*/ 295 w 337"/>
                <a:gd name="T15" fmla="*/ 104 h 320"/>
                <a:gd name="T16" fmla="*/ 321 w 337"/>
                <a:gd name="T17" fmla="*/ 96 h 320"/>
                <a:gd name="T18" fmla="*/ 337 w 337"/>
                <a:gd name="T19" fmla="*/ 56 h 320"/>
                <a:gd name="T20" fmla="*/ 329 w 337"/>
                <a:gd name="T21" fmla="*/ 16 h 320"/>
                <a:gd name="T22" fmla="*/ 321 w 337"/>
                <a:gd name="T23" fmla="*/ 16 h 320"/>
                <a:gd name="T24" fmla="*/ 304 w 337"/>
                <a:gd name="T25" fmla="*/ 0 h 320"/>
                <a:gd name="T26" fmla="*/ 278 w 337"/>
                <a:gd name="T27" fmla="*/ 0 h 320"/>
                <a:gd name="T28" fmla="*/ 219 w 337"/>
                <a:gd name="T29" fmla="*/ 16 h 320"/>
                <a:gd name="T30" fmla="*/ 203 w 337"/>
                <a:gd name="T31" fmla="*/ 24 h 320"/>
                <a:gd name="T32" fmla="*/ 194 w 337"/>
                <a:gd name="T33" fmla="*/ 48 h 320"/>
                <a:gd name="T34" fmla="*/ 203 w 337"/>
                <a:gd name="T35" fmla="*/ 72 h 320"/>
                <a:gd name="T36" fmla="*/ 219 w 337"/>
                <a:gd name="T37" fmla="*/ 96 h 320"/>
                <a:gd name="T38" fmla="*/ 228 w 337"/>
                <a:gd name="T39" fmla="*/ 112 h 320"/>
                <a:gd name="T40" fmla="*/ 211 w 337"/>
                <a:gd name="T41" fmla="*/ 128 h 320"/>
                <a:gd name="T42" fmla="*/ 186 w 337"/>
                <a:gd name="T43" fmla="*/ 136 h 320"/>
                <a:gd name="T44" fmla="*/ 160 w 337"/>
                <a:gd name="T45" fmla="*/ 120 h 320"/>
                <a:gd name="T46" fmla="*/ 169 w 337"/>
                <a:gd name="T47" fmla="*/ 72 h 320"/>
                <a:gd name="T48" fmla="*/ 160 w 337"/>
                <a:gd name="T49" fmla="*/ 56 h 320"/>
                <a:gd name="T50" fmla="*/ 152 w 337"/>
                <a:gd name="T51" fmla="*/ 32 h 320"/>
                <a:gd name="T52" fmla="*/ 110 w 337"/>
                <a:gd name="T53" fmla="*/ 128 h 320"/>
                <a:gd name="T54" fmla="*/ 76 w 337"/>
                <a:gd name="T55" fmla="*/ 168 h 320"/>
                <a:gd name="T56" fmla="*/ 68 w 337"/>
                <a:gd name="T57" fmla="*/ 216 h 320"/>
                <a:gd name="T58" fmla="*/ 42 w 337"/>
                <a:gd name="T59" fmla="*/ 216 h 320"/>
                <a:gd name="T60" fmla="*/ 34 w 337"/>
                <a:gd name="T61" fmla="*/ 216 h 320"/>
                <a:gd name="T62" fmla="*/ 26 w 337"/>
                <a:gd name="T63" fmla="*/ 232 h 320"/>
                <a:gd name="T64" fmla="*/ 0 w 337"/>
                <a:gd name="T65" fmla="*/ 240 h 320"/>
                <a:gd name="T66" fmla="*/ 26 w 337"/>
                <a:gd name="T67" fmla="*/ 256 h 320"/>
                <a:gd name="T68" fmla="*/ 59 w 337"/>
                <a:gd name="T69" fmla="*/ 264 h 320"/>
                <a:gd name="T70" fmla="*/ 93 w 337"/>
                <a:gd name="T71" fmla="*/ 248 h 320"/>
                <a:gd name="T72" fmla="*/ 144 w 337"/>
                <a:gd name="T73" fmla="*/ 256 h 320"/>
                <a:gd name="T74" fmla="*/ 186 w 337"/>
                <a:gd name="T75" fmla="*/ 264 h 320"/>
                <a:gd name="T76" fmla="*/ 203 w 337"/>
                <a:gd name="T77" fmla="*/ 288 h 320"/>
                <a:gd name="T78" fmla="*/ 194 w 337"/>
                <a:gd name="T79" fmla="*/ 312 h 320"/>
                <a:gd name="T80" fmla="*/ 219 w 337"/>
                <a:gd name="T81" fmla="*/ 320 h 320"/>
                <a:gd name="T82" fmla="*/ 219 w 337"/>
                <a:gd name="T83" fmla="*/ 296 h 320"/>
                <a:gd name="T84" fmla="*/ 236 w 337"/>
                <a:gd name="T85" fmla="*/ 280 h 32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37" h="320">
                  <a:moveTo>
                    <a:pt x="236" y="280"/>
                  </a:moveTo>
                  <a:lnTo>
                    <a:pt x="236" y="232"/>
                  </a:lnTo>
                  <a:lnTo>
                    <a:pt x="236" y="200"/>
                  </a:lnTo>
                  <a:lnTo>
                    <a:pt x="287" y="192"/>
                  </a:lnTo>
                  <a:lnTo>
                    <a:pt x="287" y="168"/>
                  </a:lnTo>
                  <a:lnTo>
                    <a:pt x="312" y="160"/>
                  </a:lnTo>
                  <a:lnTo>
                    <a:pt x="321" y="128"/>
                  </a:lnTo>
                  <a:lnTo>
                    <a:pt x="295" y="104"/>
                  </a:lnTo>
                  <a:lnTo>
                    <a:pt x="321" y="96"/>
                  </a:lnTo>
                  <a:lnTo>
                    <a:pt x="337" y="56"/>
                  </a:lnTo>
                  <a:lnTo>
                    <a:pt x="329" y="16"/>
                  </a:lnTo>
                  <a:lnTo>
                    <a:pt x="321" y="16"/>
                  </a:lnTo>
                  <a:lnTo>
                    <a:pt x="304" y="0"/>
                  </a:lnTo>
                  <a:lnTo>
                    <a:pt x="278" y="0"/>
                  </a:lnTo>
                  <a:lnTo>
                    <a:pt x="219" y="16"/>
                  </a:lnTo>
                  <a:lnTo>
                    <a:pt x="203" y="24"/>
                  </a:lnTo>
                  <a:lnTo>
                    <a:pt x="194" y="48"/>
                  </a:lnTo>
                  <a:lnTo>
                    <a:pt x="203" y="72"/>
                  </a:lnTo>
                  <a:lnTo>
                    <a:pt x="219" y="96"/>
                  </a:lnTo>
                  <a:lnTo>
                    <a:pt x="228" y="112"/>
                  </a:lnTo>
                  <a:lnTo>
                    <a:pt x="211" y="128"/>
                  </a:lnTo>
                  <a:lnTo>
                    <a:pt x="186" y="136"/>
                  </a:lnTo>
                  <a:lnTo>
                    <a:pt x="160" y="120"/>
                  </a:lnTo>
                  <a:lnTo>
                    <a:pt x="169" y="72"/>
                  </a:lnTo>
                  <a:lnTo>
                    <a:pt x="160" y="56"/>
                  </a:lnTo>
                  <a:lnTo>
                    <a:pt x="152" y="32"/>
                  </a:lnTo>
                  <a:lnTo>
                    <a:pt x="110" y="128"/>
                  </a:lnTo>
                  <a:lnTo>
                    <a:pt x="76" y="168"/>
                  </a:lnTo>
                  <a:lnTo>
                    <a:pt x="68" y="216"/>
                  </a:lnTo>
                  <a:lnTo>
                    <a:pt x="42" y="216"/>
                  </a:lnTo>
                  <a:lnTo>
                    <a:pt x="34" y="216"/>
                  </a:lnTo>
                  <a:lnTo>
                    <a:pt x="26" y="232"/>
                  </a:lnTo>
                  <a:lnTo>
                    <a:pt x="0" y="240"/>
                  </a:lnTo>
                  <a:lnTo>
                    <a:pt x="26" y="256"/>
                  </a:lnTo>
                  <a:lnTo>
                    <a:pt x="59" y="264"/>
                  </a:lnTo>
                  <a:lnTo>
                    <a:pt x="93" y="248"/>
                  </a:lnTo>
                  <a:lnTo>
                    <a:pt x="144" y="256"/>
                  </a:lnTo>
                  <a:lnTo>
                    <a:pt x="186" y="264"/>
                  </a:lnTo>
                  <a:lnTo>
                    <a:pt x="203" y="288"/>
                  </a:lnTo>
                  <a:lnTo>
                    <a:pt x="194" y="312"/>
                  </a:lnTo>
                  <a:lnTo>
                    <a:pt x="219" y="320"/>
                  </a:lnTo>
                  <a:lnTo>
                    <a:pt x="219" y="296"/>
                  </a:lnTo>
                  <a:lnTo>
                    <a:pt x="236" y="2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84" name="Freeform 38"/>
            <p:cNvSpPr>
              <a:spLocks/>
            </p:cNvSpPr>
            <p:nvPr/>
          </p:nvSpPr>
          <p:spPr bwMode="auto">
            <a:xfrm>
              <a:off x="3407" y="2632"/>
              <a:ext cx="59" cy="80"/>
            </a:xfrm>
            <a:custGeom>
              <a:avLst/>
              <a:gdLst>
                <a:gd name="T0" fmla="*/ 25 w 59"/>
                <a:gd name="T1" fmla="*/ 24 h 80"/>
                <a:gd name="T2" fmla="*/ 25 w 59"/>
                <a:gd name="T3" fmla="*/ 0 h 80"/>
                <a:gd name="T4" fmla="*/ 8 w 59"/>
                <a:gd name="T5" fmla="*/ 8 h 80"/>
                <a:gd name="T6" fmla="*/ 0 w 59"/>
                <a:gd name="T7" fmla="*/ 24 h 80"/>
                <a:gd name="T8" fmla="*/ 0 w 59"/>
                <a:gd name="T9" fmla="*/ 48 h 80"/>
                <a:gd name="T10" fmla="*/ 0 w 59"/>
                <a:gd name="T11" fmla="*/ 72 h 80"/>
                <a:gd name="T12" fmla="*/ 42 w 59"/>
                <a:gd name="T13" fmla="*/ 80 h 80"/>
                <a:gd name="T14" fmla="*/ 59 w 59"/>
                <a:gd name="T15" fmla="*/ 48 h 80"/>
                <a:gd name="T16" fmla="*/ 25 w 59"/>
                <a:gd name="T17" fmla="*/ 24 h 8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9" h="80">
                  <a:moveTo>
                    <a:pt x="25" y="24"/>
                  </a:moveTo>
                  <a:lnTo>
                    <a:pt x="25" y="0"/>
                  </a:lnTo>
                  <a:lnTo>
                    <a:pt x="8" y="8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0" y="72"/>
                  </a:lnTo>
                  <a:lnTo>
                    <a:pt x="42" y="80"/>
                  </a:lnTo>
                  <a:lnTo>
                    <a:pt x="59" y="48"/>
                  </a:lnTo>
                  <a:lnTo>
                    <a:pt x="25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85" name="Freeform 39"/>
            <p:cNvSpPr>
              <a:spLocks/>
            </p:cNvSpPr>
            <p:nvPr/>
          </p:nvSpPr>
          <p:spPr bwMode="auto">
            <a:xfrm>
              <a:off x="3204" y="2232"/>
              <a:ext cx="337" cy="320"/>
            </a:xfrm>
            <a:custGeom>
              <a:avLst/>
              <a:gdLst>
                <a:gd name="T0" fmla="*/ 236 w 337"/>
                <a:gd name="T1" fmla="*/ 280 h 320"/>
                <a:gd name="T2" fmla="*/ 236 w 337"/>
                <a:gd name="T3" fmla="*/ 232 h 320"/>
                <a:gd name="T4" fmla="*/ 236 w 337"/>
                <a:gd name="T5" fmla="*/ 200 h 320"/>
                <a:gd name="T6" fmla="*/ 287 w 337"/>
                <a:gd name="T7" fmla="*/ 192 h 320"/>
                <a:gd name="T8" fmla="*/ 287 w 337"/>
                <a:gd name="T9" fmla="*/ 168 h 320"/>
                <a:gd name="T10" fmla="*/ 312 w 337"/>
                <a:gd name="T11" fmla="*/ 160 h 320"/>
                <a:gd name="T12" fmla="*/ 321 w 337"/>
                <a:gd name="T13" fmla="*/ 128 h 320"/>
                <a:gd name="T14" fmla="*/ 295 w 337"/>
                <a:gd name="T15" fmla="*/ 104 h 320"/>
                <a:gd name="T16" fmla="*/ 321 w 337"/>
                <a:gd name="T17" fmla="*/ 96 h 320"/>
                <a:gd name="T18" fmla="*/ 337 w 337"/>
                <a:gd name="T19" fmla="*/ 56 h 320"/>
                <a:gd name="T20" fmla="*/ 329 w 337"/>
                <a:gd name="T21" fmla="*/ 16 h 320"/>
                <a:gd name="T22" fmla="*/ 321 w 337"/>
                <a:gd name="T23" fmla="*/ 16 h 320"/>
                <a:gd name="T24" fmla="*/ 304 w 337"/>
                <a:gd name="T25" fmla="*/ 0 h 320"/>
                <a:gd name="T26" fmla="*/ 278 w 337"/>
                <a:gd name="T27" fmla="*/ 0 h 320"/>
                <a:gd name="T28" fmla="*/ 219 w 337"/>
                <a:gd name="T29" fmla="*/ 16 h 320"/>
                <a:gd name="T30" fmla="*/ 203 w 337"/>
                <a:gd name="T31" fmla="*/ 24 h 320"/>
                <a:gd name="T32" fmla="*/ 194 w 337"/>
                <a:gd name="T33" fmla="*/ 48 h 320"/>
                <a:gd name="T34" fmla="*/ 203 w 337"/>
                <a:gd name="T35" fmla="*/ 72 h 320"/>
                <a:gd name="T36" fmla="*/ 219 w 337"/>
                <a:gd name="T37" fmla="*/ 96 h 320"/>
                <a:gd name="T38" fmla="*/ 228 w 337"/>
                <a:gd name="T39" fmla="*/ 112 h 320"/>
                <a:gd name="T40" fmla="*/ 211 w 337"/>
                <a:gd name="T41" fmla="*/ 128 h 320"/>
                <a:gd name="T42" fmla="*/ 186 w 337"/>
                <a:gd name="T43" fmla="*/ 136 h 320"/>
                <a:gd name="T44" fmla="*/ 160 w 337"/>
                <a:gd name="T45" fmla="*/ 120 h 320"/>
                <a:gd name="T46" fmla="*/ 169 w 337"/>
                <a:gd name="T47" fmla="*/ 72 h 320"/>
                <a:gd name="T48" fmla="*/ 160 w 337"/>
                <a:gd name="T49" fmla="*/ 56 h 320"/>
                <a:gd name="T50" fmla="*/ 152 w 337"/>
                <a:gd name="T51" fmla="*/ 32 h 320"/>
                <a:gd name="T52" fmla="*/ 110 w 337"/>
                <a:gd name="T53" fmla="*/ 128 h 320"/>
                <a:gd name="T54" fmla="*/ 76 w 337"/>
                <a:gd name="T55" fmla="*/ 168 h 320"/>
                <a:gd name="T56" fmla="*/ 68 w 337"/>
                <a:gd name="T57" fmla="*/ 216 h 320"/>
                <a:gd name="T58" fmla="*/ 42 w 337"/>
                <a:gd name="T59" fmla="*/ 216 h 320"/>
                <a:gd name="T60" fmla="*/ 34 w 337"/>
                <a:gd name="T61" fmla="*/ 216 h 320"/>
                <a:gd name="T62" fmla="*/ 26 w 337"/>
                <a:gd name="T63" fmla="*/ 232 h 320"/>
                <a:gd name="T64" fmla="*/ 0 w 337"/>
                <a:gd name="T65" fmla="*/ 240 h 320"/>
                <a:gd name="T66" fmla="*/ 26 w 337"/>
                <a:gd name="T67" fmla="*/ 256 h 320"/>
                <a:gd name="T68" fmla="*/ 59 w 337"/>
                <a:gd name="T69" fmla="*/ 264 h 320"/>
                <a:gd name="T70" fmla="*/ 93 w 337"/>
                <a:gd name="T71" fmla="*/ 248 h 320"/>
                <a:gd name="T72" fmla="*/ 144 w 337"/>
                <a:gd name="T73" fmla="*/ 256 h 320"/>
                <a:gd name="T74" fmla="*/ 186 w 337"/>
                <a:gd name="T75" fmla="*/ 264 h 320"/>
                <a:gd name="T76" fmla="*/ 203 w 337"/>
                <a:gd name="T77" fmla="*/ 288 h 320"/>
                <a:gd name="T78" fmla="*/ 194 w 337"/>
                <a:gd name="T79" fmla="*/ 312 h 320"/>
                <a:gd name="T80" fmla="*/ 219 w 337"/>
                <a:gd name="T81" fmla="*/ 320 h 320"/>
                <a:gd name="T82" fmla="*/ 219 w 337"/>
                <a:gd name="T83" fmla="*/ 296 h 320"/>
                <a:gd name="T84" fmla="*/ 236 w 337"/>
                <a:gd name="T85" fmla="*/ 280 h 32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37" h="320">
                  <a:moveTo>
                    <a:pt x="236" y="280"/>
                  </a:moveTo>
                  <a:lnTo>
                    <a:pt x="236" y="232"/>
                  </a:lnTo>
                  <a:lnTo>
                    <a:pt x="236" y="200"/>
                  </a:lnTo>
                  <a:lnTo>
                    <a:pt x="287" y="192"/>
                  </a:lnTo>
                  <a:lnTo>
                    <a:pt x="287" y="168"/>
                  </a:lnTo>
                  <a:lnTo>
                    <a:pt x="312" y="160"/>
                  </a:lnTo>
                  <a:lnTo>
                    <a:pt x="321" y="128"/>
                  </a:lnTo>
                  <a:lnTo>
                    <a:pt x="295" y="104"/>
                  </a:lnTo>
                  <a:lnTo>
                    <a:pt x="321" y="96"/>
                  </a:lnTo>
                  <a:lnTo>
                    <a:pt x="337" y="56"/>
                  </a:lnTo>
                  <a:lnTo>
                    <a:pt x="329" y="16"/>
                  </a:lnTo>
                  <a:lnTo>
                    <a:pt x="321" y="16"/>
                  </a:lnTo>
                  <a:lnTo>
                    <a:pt x="304" y="0"/>
                  </a:lnTo>
                  <a:lnTo>
                    <a:pt x="278" y="0"/>
                  </a:lnTo>
                  <a:lnTo>
                    <a:pt x="219" y="16"/>
                  </a:lnTo>
                  <a:lnTo>
                    <a:pt x="203" y="24"/>
                  </a:lnTo>
                  <a:lnTo>
                    <a:pt x="194" y="48"/>
                  </a:lnTo>
                  <a:lnTo>
                    <a:pt x="203" y="72"/>
                  </a:lnTo>
                  <a:lnTo>
                    <a:pt x="219" y="96"/>
                  </a:lnTo>
                  <a:lnTo>
                    <a:pt x="228" y="112"/>
                  </a:lnTo>
                  <a:lnTo>
                    <a:pt x="211" y="128"/>
                  </a:lnTo>
                  <a:lnTo>
                    <a:pt x="186" y="136"/>
                  </a:lnTo>
                  <a:lnTo>
                    <a:pt x="160" y="120"/>
                  </a:lnTo>
                  <a:lnTo>
                    <a:pt x="169" y="72"/>
                  </a:lnTo>
                  <a:lnTo>
                    <a:pt x="160" y="56"/>
                  </a:lnTo>
                  <a:lnTo>
                    <a:pt x="152" y="32"/>
                  </a:lnTo>
                  <a:lnTo>
                    <a:pt x="110" y="128"/>
                  </a:lnTo>
                  <a:lnTo>
                    <a:pt x="76" y="168"/>
                  </a:lnTo>
                  <a:lnTo>
                    <a:pt x="68" y="216"/>
                  </a:lnTo>
                  <a:lnTo>
                    <a:pt x="42" y="216"/>
                  </a:lnTo>
                  <a:lnTo>
                    <a:pt x="34" y="216"/>
                  </a:lnTo>
                  <a:lnTo>
                    <a:pt x="26" y="232"/>
                  </a:lnTo>
                  <a:lnTo>
                    <a:pt x="0" y="240"/>
                  </a:lnTo>
                  <a:lnTo>
                    <a:pt x="26" y="256"/>
                  </a:lnTo>
                  <a:lnTo>
                    <a:pt x="59" y="264"/>
                  </a:lnTo>
                  <a:lnTo>
                    <a:pt x="93" y="248"/>
                  </a:lnTo>
                  <a:lnTo>
                    <a:pt x="144" y="256"/>
                  </a:lnTo>
                  <a:lnTo>
                    <a:pt x="186" y="264"/>
                  </a:lnTo>
                  <a:lnTo>
                    <a:pt x="203" y="288"/>
                  </a:lnTo>
                  <a:lnTo>
                    <a:pt x="194" y="312"/>
                  </a:lnTo>
                  <a:lnTo>
                    <a:pt x="219" y="320"/>
                  </a:lnTo>
                  <a:lnTo>
                    <a:pt x="219" y="296"/>
                  </a:lnTo>
                  <a:lnTo>
                    <a:pt x="236" y="2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86" name="Freeform 40"/>
            <p:cNvSpPr>
              <a:spLocks/>
            </p:cNvSpPr>
            <p:nvPr/>
          </p:nvSpPr>
          <p:spPr bwMode="auto">
            <a:xfrm>
              <a:off x="3617" y="1744"/>
              <a:ext cx="211" cy="344"/>
            </a:xfrm>
            <a:custGeom>
              <a:avLst/>
              <a:gdLst>
                <a:gd name="T0" fmla="*/ 143 w 211"/>
                <a:gd name="T1" fmla="*/ 344 h 344"/>
                <a:gd name="T2" fmla="*/ 118 w 211"/>
                <a:gd name="T3" fmla="*/ 312 h 344"/>
                <a:gd name="T4" fmla="*/ 143 w 211"/>
                <a:gd name="T5" fmla="*/ 312 h 344"/>
                <a:gd name="T6" fmla="*/ 127 w 211"/>
                <a:gd name="T7" fmla="*/ 280 h 344"/>
                <a:gd name="T8" fmla="*/ 127 w 211"/>
                <a:gd name="T9" fmla="*/ 248 h 344"/>
                <a:gd name="T10" fmla="*/ 169 w 211"/>
                <a:gd name="T11" fmla="*/ 184 h 344"/>
                <a:gd name="T12" fmla="*/ 186 w 211"/>
                <a:gd name="T13" fmla="*/ 192 h 344"/>
                <a:gd name="T14" fmla="*/ 211 w 211"/>
                <a:gd name="T15" fmla="*/ 136 h 344"/>
                <a:gd name="T16" fmla="*/ 177 w 211"/>
                <a:gd name="T17" fmla="*/ 112 h 344"/>
                <a:gd name="T18" fmla="*/ 169 w 211"/>
                <a:gd name="T19" fmla="*/ 72 h 344"/>
                <a:gd name="T20" fmla="*/ 177 w 211"/>
                <a:gd name="T21" fmla="*/ 24 h 344"/>
                <a:gd name="T22" fmla="*/ 177 w 211"/>
                <a:gd name="T23" fmla="*/ 8 h 344"/>
                <a:gd name="T24" fmla="*/ 160 w 211"/>
                <a:gd name="T25" fmla="*/ 0 h 344"/>
                <a:gd name="T26" fmla="*/ 135 w 211"/>
                <a:gd name="T27" fmla="*/ 8 h 344"/>
                <a:gd name="T28" fmla="*/ 127 w 211"/>
                <a:gd name="T29" fmla="*/ 24 h 344"/>
                <a:gd name="T30" fmla="*/ 101 w 211"/>
                <a:gd name="T31" fmla="*/ 40 h 344"/>
                <a:gd name="T32" fmla="*/ 76 w 211"/>
                <a:gd name="T33" fmla="*/ 48 h 344"/>
                <a:gd name="T34" fmla="*/ 51 w 211"/>
                <a:gd name="T35" fmla="*/ 56 h 344"/>
                <a:gd name="T36" fmla="*/ 34 w 211"/>
                <a:gd name="T37" fmla="*/ 72 h 344"/>
                <a:gd name="T38" fmla="*/ 26 w 211"/>
                <a:gd name="T39" fmla="*/ 96 h 344"/>
                <a:gd name="T40" fmla="*/ 42 w 211"/>
                <a:gd name="T41" fmla="*/ 112 h 344"/>
                <a:gd name="T42" fmla="*/ 17 w 211"/>
                <a:gd name="T43" fmla="*/ 120 h 344"/>
                <a:gd name="T44" fmla="*/ 9 w 211"/>
                <a:gd name="T45" fmla="*/ 144 h 344"/>
                <a:gd name="T46" fmla="*/ 9 w 211"/>
                <a:gd name="T47" fmla="*/ 168 h 344"/>
                <a:gd name="T48" fmla="*/ 26 w 211"/>
                <a:gd name="T49" fmla="*/ 192 h 344"/>
                <a:gd name="T50" fmla="*/ 0 w 211"/>
                <a:gd name="T51" fmla="*/ 208 h 344"/>
                <a:gd name="T52" fmla="*/ 0 w 211"/>
                <a:gd name="T53" fmla="*/ 224 h 344"/>
                <a:gd name="T54" fmla="*/ 26 w 211"/>
                <a:gd name="T55" fmla="*/ 272 h 344"/>
                <a:gd name="T56" fmla="*/ 42 w 211"/>
                <a:gd name="T57" fmla="*/ 256 h 344"/>
                <a:gd name="T58" fmla="*/ 51 w 211"/>
                <a:gd name="T59" fmla="*/ 304 h 344"/>
                <a:gd name="T60" fmla="*/ 59 w 211"/>
                <a:gd name="T61" fmla="*/ 328 h 344"/>
                <a:gd name="T62" fmla="*/ 84 w 211"/>
                <a:gd name="T63" fmla="*/ 336 h 344"/>
                <a:gd name="T64" fmla="*/ 143 w 211"/>
                <a:gd name="T65" fmla="*/ 344 h 34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1" h="344">
                  <a:moveTo>
                    <a:pt x="143" y="344"/>
                  </a:moveTo>
                  <a:lnTo>
                    <a:pt x="118" y="312"/>
                  </a:lnTo>
                  <a:lnTo>
                    <a:pt x="143" y="312"/>
                  </a:lnTo>
                  <a:lnTo>
                    <a:pt x="127" y="280"/>
                  </a:lnTo>
                  <a:lnTo>
                    <a:pt x="127" y="248"/>
                  </a:lnTo>
                  <a:lnTo>
                    <a:pt x="169" y="184"/>
                  </a:lnTo>
                  <a:lnTo>
                    <a:pt x="186" y="192"/>
                  </a:lnTo>
                  <a:lnTo>
                    <a:pt x="211" y="136"/>
                  </a:lnTo>
                  <a:lnTo>
                    <a:pt x="177" y="112"/>
                  </a:lnTo>
                  <a:lnTo>
                    <a:pt x="169" y="72"/>
                  </a:lnTo>
                  <a:lnTo>
                    <a:pt x="177" y="24"/>
                  </a:lnTo>
                  <a:lnTo>
                    <a:pt x="177" y="8"/>
                  </a:lnTo>
                  <a:lnTo>
                    <a:pt x="160" y="0"/>
                  </a:lnTo>
                  <a:lnTo>
                    <a:pt x="135" y="8"/>
                  </a:lnTo>
                  <a:lnTo>
                    <a:pt x="127" y="24"/>
                  </a:lnTo>
                  <a:lnTo>
                    <a:pt x="101" y="40"/>
                  </a:lnTo>
                  <a:lnTo>
                    <a:pt x="76" y="48"/>
                  </a:lnTo>
                  <a:lnTo>
                    <a:pt x="51" y="56"/>
                  </a:lnTo>
                  <a:lnTo>
                    <a:pt x="34" y="72"/>
                  </a:lnTo>
                  <a:lnTo>
                    <a:pt x="26" y="96"/>
                  </a:lnTo>
                  <a:lnTo>
                    <a:pt x="42" y="112"/>
                  </a:lnTo>
                  <a:lnTo>
                    <a:pt x="17" y="120"/>
                  </a:lnTo>
                  <a:lnTo>
                    <a:pt x="9" y="144"/>
                  </a:lnTo>
                  <a:lnTo>
                    <a:pt x="9" y="168"/>
                  </a:lnTo>
                  <a:lnTo>
                    <a:pt x="26" y="192"/>
                  </a:lnTo>
                  <a:lnTo>
                    <a:pt x="0" y="208"/>
                  </a:lnTo>
                  <a:lnTo>
                    <a:pt x="0" y="224"/>
                  </a:lnTo>
                  <a:lnTo>
                    <a:pt x="26" y="272"/>
                  </a:lnTo>
                  <a:lnTo>
                    <a:pt x="42" y="256"/>
                  </a:lnTo>
                  <a:lnTo>
                    <a:pt x="51" y="304"/>
                  </a:lnTo>
                  <a:lnTo>
                    <a:pt x="59" y="328"/>
                  </a:lnTo>
                  <a:lnTo>
                    <a:pt x="84" y="336"/>
                  </a:lnTo>
                  <a:lnTo>
                    <a:pt x="143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87" name="Freeform 41"/>
            <p:cNvSpPr>
              <a:spLocks/>
            </p:cNvSpPr>
            <p:nvPr/>
          </p:nvSpPr>
          <p:spPr bwMode="auto">
            <a:xfrm>
              <a:off x="3428" y="2084"/>
              <a:ext cx="750" cy="888"/>
            </a:xfrm>
            <a:custGeom>
              <a:avLst/>
              <a:gdLst>
                <a:gd name="T0" fmla="*/ 228 w 750"/>
                <a:gd name="T1" fmla="*/ 848 h 888"/>
                <a:gd name="T2" fmla="*/ 354 w 750"/>
                <a:gd name="T3" fmla="*/ 888 h 888"/>
                <a:gd name="T4" fmla="*/ 447 w 750"/>
                <a:gd name="T5" fmla="*/ 880 h 888"/>
                <a:gd name="T6" fmla="*/ 557 w 750"/>
                <a:gd name="T7" fmla="*/ 848 h 888"/>
                <a:gd name="T8" fmla="*/ 616 w 750"/>
                <a:gd name="T9" fmla="*/ 832 h 888"/>
                <a:gd name="T10" fmla="*/ 632 w 750"/>
                <a:gd name="T11" fmla="*/ 776 h 888"/>
                <a:gd name="T12" fmla="*/ 675 w 750"/>
                <a:gd name="T13" fmla="*/ 744 h 888"/>
                <a:gd name="T14" fmla="*/ 607 w 750"/>
                <a:gd name="T15" fmla="*/ 656 h 888"/>
                <a:gd name="T16" fmla="*/ 557 w 750"/>
                <a:gd name="T17" fmla="*/ 584 h 888"/>
                <a:gd name="T18" fmla="*/ 557 w 750"/>
                <a:gd name="T19" fmla="*/ 520 h 888"/>
                <a:gd name="T20" fmla="*/ 641 w 750"/>
                <a:gd name="T21" fmla="*/ 488 h 888"/>
                <a:gd name="T22" fmla="*/ 691 w 750"/>
                <a:gd name="T23" fmla="*/ 440 h 888"/>
                <a:gd name="T24" fmla="*/ 750 w 750"/>
                <a:gd name="T25" fmla="*/ 456 h 888"/>
                <a:gd name="T26" fmla="*/ 725 w 750"/>
                <a:gd name="T27" fmla="*/ 360 h 888"/>
                <a:gd name="T28" fmla="*/ 717 w 750"/>
                <a:gd name="T29" fmla="*/ 280 h 888"/>
                <a:gd name="T30" fmla="*/ 666 w 750"/>
                <a:gd name="T31" fmla="*/ 216 h 888"/>
                <a:gd name="T32" fmla="*/ 683 w 750"/>
                <a:gd name="T33" fmla="*/ 136 h 888"/>
                <a:gd name="T34" fmla="*/ 641 w 750"/>
                <a:gd name="T35" fmla="*/ 80 h 888"/>
                <a:gd name="T36" fmla="*/ 616 w 750"/>
                <a:gd name="T37" fmla="*/ 32 h 888"/>
                <a:gd name="T38" fmla="*/ 582 w 750"/>
                <a:gd name="T39" fmla="*/ 32 h 888"/>
                <a:gd name="T40" fmla="*/ 557 w 750"/>
                <a:gd name="T41" fmla="*/ 40 h 888"/>
                <a:gd name="T42" fmla="*/ 540 w 750"/>
                <a:gd name="T43" fmla="*/ 40 h 888"/>
                <a:gd name="T44" fmla="*/ 481 w 750"/>
                <a:gd name="T45" fmla="*/ 72 h 888"/>
                <a:gd name="T46" fmla="*/ 439 w 750"/>
                <a:gd name="T47" fmla="*/ 96 h 888"/>
                <a:gd name="T48" fmla="*/ 430 w 750"/>
                <a:gd name="T49" fmla="*/ 64 h 888"/>
                <a:gd name="T50" fmla="*/ 396 w 750"/>
                <a:gd name="T51" fmla="*/ 56 h 888"/>
                <a:gd name="T52" fmla="*/ 346 w 750"/>
                <a:gd name="T53" fmla="*/ 16 h 888"/>
                <a:gd name="T54" fmla="*/ 253 w 750"/>
                <a:gd name="T55" fmla="*/ 0 h 888"/>
                <a:gd name="T56" fmla="*/ 245 w 750"/>
                <a:gd name="T57" fmla="*/ 40 h 888"/>
                <a:gd name="T58" fmla="*/ 278 w 750"/>
                <a:gd name="T59" fmla="*/ 112 h 888"/>
                <a:gd name="T60" fmla="*/ 236 w 750"/>
                <a:gd name="T61" fmla="*/ 112 h 888"/>
                <a:gd name="T62" fmla="*/ 220 w 750"/>
                <a:gd name="T63" fmla="*/ 136 h 888"/>
                <a:gd name="T64" fmla="*/ 186 w 750"/>
                <a:gd name="T65" fmla="*/ 128 h 888"/>
                <a:gd name="T66" fmla="*/ 110 w 750"/>
                <a:gd name="T67" fmla="*/ 144 h 888"/>
                <a:gd name="T68" fmla="*/ 118 w 750"/>
                <a:gd name="T69" fmla="*/ 208 h 888"/>
                <a:gd name="T70" fmla="*/ 76 w 750"/>
                <a:gd name="T71" fmla="*/ 256 h 888"/>
                <a:gd name="T72" fmla="*/ 93 w 750"/>
                <a:gd name="T73" fmla="*/ 312 h 888"/>
                <a:gd name="T74" fmla="*/ 68 w 750"/>
                <a:gd name="T75" fmla="*/ 344 h 888"/>
                <a:gd name="T76" fmla="*/ 17 w 750"/>
                <a:gd name="T77" fmla="*/ 384 h 888"/>
                <a:gd name="T78" fmla="*/ 0 w 750"/>
                <a:gd name="T79" fmla="*/ 448 h 888"/>
                <a:gd name="T80" fmla="*/ 9 w 750"/>
                <a:gd name="T81" fmla="*/ 480 h 888"/>
                <a:gd name="T82" fmla="*/ 34 w 750"/>
                <a:gd name="T83" fmla="*/ 536 h 888"/>
                <a:gd name="T84" fmla="*/ 9 w 750"/>
                <a:gd name="T85" fmla="*/ 552 h 888"/>
                <a:gd name="T86" fmla="*/ 43 w 750"/>
                <a:gd name="T87" fmla="*/ 600 h 888"/>
                <a:gd name="T88" fmla="*/ 51 w 750"/>
                <a:gd name="T89" fmla="*/ 664 h 888"/>
                <a:gd name="T90" fmla="*/ 135 w 750"/>
                <a:gd name="T91" fmla="*/ 688 h 888"/>
                <a:gd name="T92" fmla="*/ 152 w 750"/>
                <a:gd name="T93" fmla="*/ 736 h 888"/>
                <a:gd name="T94" fmla="*/ 127 w 750"/>
                <a:gd name="T95" fmla="*/ 864 h 888"/>
                <a:gd name="T96" fmla="*/ 144 w 750"/>
                <a:gd name="T97" fmla="*/ 872 h 8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50" h="888">
                  <a:moveTo>
                    <a:pt x="194" y="864"/>
                  </a:moveTo>
                  <a:lnTo>
                    <a:pt x="228" y="848"/>
                  </a:lnTo>
                  <a:lnTo>
                    <a:pt x="312" y="872"/>
                  </a:lnTo>
                  <a:lnTo>
                    <a:pt x="354" y="888"/>
                  </a:lnTo>
                  <a:lnTo>
                    <a:pt x="388" y="872"/>
                  </a:lnTo>
                  <a:lnTo>
                    <a:pt x="447" y="880"/>
                  </a:lnTo>
                  <a:lnTo>
                    <a:pt x="489" y="872"/>
                  </a:lnTo>
                  <a:lnTo>
                    <a:pt x="557" y="848"/>
                  </a:lnTo>
                  <a:lnTo>
                    <a:pt x="616" y="864"/>
                  </a:lnTo>
                  <a:lnTo>
                    <a:pt x="616" y="832"/>
                  </a:lnTo>
                  <a:lnTo>
                    <a:pt x="599" y="800"/>
                  </a:lnTo>
                  <a:lnTo>
                    <a:pt x="632" y="776"/>
                  </a:lnTo>
                  <a:lnTo>
                    <a:pt x="641" y="744"/>
                  </a:lnTo>
                  <a:lnTo>
                    <a:pt x="675" y="744"/>
                  </a:lnTo>
                  <a:lnTo>
                    <a:pt x="683" y="712"/>
                  </a:lnTo>
                  <a:lnTo>
                    <a:pt x="607" y="656"/>
                  </a:lnTo>
                  <a:lnTo>
                    <a:pt x="548" y="608"/>
                  </a:lnTo>
                  <a:lnTo>
                    <a:pt x="557" y="584"/>
                  </a:lnTo>
                  <a:lnTo>
                    <a:pt x="523" y="544"/>
                  </a:lnTo>
                  <a:lnTo>
                    <a:pt x="557" y="520"/>
                  </a:lnTo>
                  <a:lnTo>
                    <a:pt x="599" y="512"/>
                  </a:lnTo>
                  <a:lnTo>
                    <a:pt x="641" y="488"/>
                  </a:lnTo>
                  <a:lnTo>
                    <a:pt x="683" y="472"/>
                  </a:lnTo>
                  <a:lnTo>
                    <a:pt x="691" y="440"/>
                  </a:lnTo>
                  <a:lnTo>
                    <a:pt x="725" y="440"/>
                  </a:lnTo>
                  <a:lnTo>
                    <a:pt x="750" y="456"/>
                  </a:lnTo>
                  <a:lnTo>
                    <a:pt x="750" y="392"/>
                  </a:lnTo>
                  <a:lnTo>
                    <a:pt x="725" y="360"/>
                  </a:lnTo>
                  <a:lnTo>
                    <a:pt x="742" y="320"/>
                  </a:lnTo>
                  <a:lnTo>
                    <a:pt x="717" y="280"/>
                  </a:lnTo>
                  <a:lnTo>
                    <a:pt x="717" y="248"/>
                  </a:lnTo>
                  <a:lnTo>
                    <a:pt x="666" y="216"/>
                  </a:lnTo>
                  <a:lnTo>
                    <a:pt x="691" y="168"/>
                  </a:lnTo>
                  <a:lnTo>
                    <a:pt x="683" y="136"/>
                  </a:lnTo>
                  <a:lnTo>
                    <a:pt x="675" y="88"/>
                  </a:lnTo>
                  <a:lnTo>
                    <a:pt x="641" y="80"/>
                  </a:lnTo>
                  <a:lnTo>
                    <a:pt x="607" y="64"/>
                  </a:lnTo>
                  <a:lnTo>
                    <a:pt x="616" y="32"/>
                  </a:lnTo>
                  <a:lnTo>
                    <a:pt x="590" y="16"/>
                  </a:lnTo>
                  <a:lnTo>
                    <a:pt x="582" y="32"/>
                  </a:lnTo>
                  <a:lnTo>
                    <a:pt x="573" y="48"/>
                  </a:lnTo>
                  <a:lnTo>
                    <a:pt x="557" y="40"/>
                  </a:lnTo>
                  <a:lnTo>
                    <a:pt x="548" y="40"/>
                  </a:lnTo>
                  <a:lnTo>
                    <a:pt x="540" y="40"/>
                  </a:lnTo>
                  <a:lnTo>
                    <a:pt x="514" y="64"/>
                  </a:lnTo>
                  <a:lnTo>
                    <a:pt x="481" y="72"/>
                  </a:lnTo>
                  <a:lnTo>
                    <a:pt x="464" y="96"/>
                  </a:lnTo>
                  <a:lnTo>
                    <a:pt x="439" y="96"/>
                  </a:lnTo>
                  <a:lnTo>
                    <a:pt x="413" y="88"/>
                  </a:lnTo>
                  <a:lnTo>
                    <a:pt x="430" y="64"/>
                  </a:lnTo>
                  <a:lnTo>
                    <a:pt x="422" y="32"/>
                  </a:lnTo>
                  <a:lnTo>
                    <a:pt x="396" y="56"/>
                  </a:lnTo>
                  <a:lnTo>
                    <a:pt x="346" y="40"/>
                  </a:lnTo>
                  <a:lnTo>
                    <a:pt x="346" y="16"/>
                  </a:lnTo>
                  <a:lnTo>
                    <a:pt x="337" y="8"/>
                  </a:lnTo>
                  <a:lnTo>
                    <a:pt x="253" y="0"/>
                  </a:lnTo>
                  <a:lnTo>
                    <a:pt x="270" y="24"/>
                  </a:lnTo>
                  <a:lnTo>
                    <a:pt x="245" y="40"/>
                  </a:lnTo>
                  <a:lnTo>
                    <a:pt x="245" y="64"/>
                  </a:lnTo>
                  <a:lnTo>
                    <a:pt x="278" y="112"/>
                  </a:lnTo>
                  <a:lnTo>
                    <a:pt x="253" y="112"/>
                  </a:lnTo>
                  <a:lnTo>
                    <a:pt x="236" y="112"/>
                  </a:lnTo>
                  <a:lnTo>
                    <a:pt x="228" y="128"/>
                  </a:lnTo>
                  <a:lnTo>
                    <a:pt x="220" y="136"/>
                  </a:lnTo>
                  <a:lnTo>
                    <a:pt x="211" y="136"/>
                  </a:lnTo>
                  <a:lnTo>
                    <a:pt x="186" y="128"/>
                  </a:lnTo>
                  <a:lnTo>
                    <a:pt x="135" y="128"/>
                  </a:lnTo>
                  <a:lnTo>
                    <a:pt x="110" y="144"/>
                  </a:lnTo>
                  <a:lnTo>
                    <a:pt x="110" y="168"/>
                  </a:lnTo>
                  <a:lnTo>
                    <a:pt x="118" y="208"/>
                  </a:lnTo>
                  <a:lnTo>
                    <a:pt x="102" y="248"/>
                  </a:lnTo>
                  <a:lnTo>
                    <a:pt x="76" y="256"/>
                  </a:lnTo>
                  <a:lnTo>
                    <a:pt x="102" y="280"/>
                  </a:lnTo>
                  <a:lnTo>
                    <a:pt x="93" y="312"/>
                  </a:lnTo>
                  <a:lnTo>
                    <a:pt x="68" y="320"/>
                  </a:lnTo>
                  <a:lnTo>
                    <a:pt x="68" y="344"/>
                  </a:lnTo>
                  <a:lnTo>
                    <a:pt x="17" y="352"/>
                  </a:lnTo>
                  <a:lnTo>
                    <a:pt x="17" y="384"/>
                  </a:lnTo>
                  <a:lnTo>
                    <a:pt x="17" y="432"/>
                  </a:lnTo>
                  <a:lnTo>
                    <a:pt x="0" y="448"/>
                  </a:lnTo>
                  <a:lnTo>
                    <a:pt x="0" y="472"/>
                  </a:lnTo>
                  <a:lnTo>
                    <a:pt x="9" y="480"/>
                  </a:lnTo>
                  <a:lnTo>
                    <a:pt x="34" y="504"/>
                  </a:lnTo>
                  <a:lnTo>
                    <a:pt x="34" y="536"/>
                  </a:lnTo>
                  <a:lnTo>
                    <a:pt x="17" y="552"/>
                  </a:lnTo>
                  <a:lnTo>
                    <a:pt x="9" y="552"/>
                  </a:lnTo>
                  <a:lnTo>
                    <a:pt x="9" y="576"/>
                  </a:lnTo>
                  <a:lnTo>
                    <a:pt x="43" y="600"/>
                  </a:lnTo>
                  <a:lnTo>
                    <a:pt x="26" y="632"/>
                  </a:lnTo>
                  <a:lnTo>
                    <a:pt x="51" y="664"/>
                  </a:lnTo>
                  <a:lnTo>
                    <a:pt x="76" y="672"/>
                  </a:lnTo>
                  <a:lnTo>
                    <a:pt x="135" y="688"/>
                  </a:lnTo>
                  <a:lnTo>
                    <a:pt x="186" y="704"/>
                  </a:lnTo>
                  <a:lnTo>
                    <a:pt x="152" y="736"/>
                  </a:lnTo>
                  <a:lnTo>
                    <a:pt x="144" y="776"/>
                  </a:lnTo>
                  <a:lnTo>
                    <a:pt x="127" y="864"/>
                  </a:lnTo>
                  <a:lnTo>
                    <a:pt x="118" y="864"/>
                  </a:lnTo>
                  <a:lnTo>
                    <a:pt x="144" y="872"/>
                  </a:lnTo>
                  <a:lnTo>
                    <a:pt x="194" y="8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88" name="Freeform 42"/>
            <p:cNvSpPr>
              <a:spLocks/>
            </p:cNvSpPr>
            <p:nvPr/>
          </p:nvSpPr>
          <p:spPr bwMode="auto">
            <a:xfrm>
              <a:off x="3617" y="1744"/>
              <a:ext cx="211" cy="344"/>
            </a:xfrm>
            <a:custGeom>
              <a:avLst/>
              <a:gdLst>
                <a:gd name="T0" fmla="*/ 143 w 211"/>
                <a:gd name="T1" fmla="*/ 344 h 344"/>
                <a:gd name="T2" fmla="*/ 118 w 211"/>
                <a:gd name="T3" fmla="*/ 312 h 344"/>
                <a:gd name="T4" fmla="*/ 143 w 211"/>
                <a:gd name="T5" fmla="*/ 312 h 344"/>
                <a:gd name="T6" fmla="*/ 127 w 211"/>
                <a:gd name="T7" fmla="*/ 280 h 344"/>
                <a:gd name="T8" fmla="*/ 127 w 211"/>
                <a:gd name="T9" fmla="*/ 248 h 344"/>
                <a:gd name="T10" fmla="*/ 169 w 211"/>
                <a:gd name="T11" fmla="*/ 184 h 344"/>
                <a:gd name="T12" fmla="*/ 186 w 211"/>
                <a:gd name="T13" fmla="*/ 192 h 344"/>
                <a:gd name="T14" fmla="*/ 211 w 211"/>
                <a:gd name="T15" fmla="*/ 136 h 344"/>
                <a:gd name="T16" fmla="*/ 177 w 211"/>
                <a:gd name="T17" fmla="*/ 112 h 344"/>
                <a:gd name="T18" fmla="*/ 169 w 211"/>
                <a:gd name="T19" fmla="*/ 72 h 344"/>
                <a:gd name="T20" fmla="*/ 177 w 211"/>
                <a:gd name="T21" fmla="*/ 24 h 344"/>
                <a:gd name="T22" fmla="*/ 177 w 211"/>
                <a:gd name="T23" fmla="*/ 8 h 344"/>
                <a:gd name="T24" fmla="*/ 160 w 211"/>
                <a:gd name="T25" fmla="*/ 0 h 344"/>
                <a:gd name="T26" fmla="*/ 135 w 211"/>
                <a:gd name="T27" fmla="*/ 8 h 344"/>
                <a:gd name="T28" fmla="*/ 127 w 211"/>
                <a:gd name="T29" fmla="*/ 24 h 344"/>
                <a:gd name="T30" fmla="*/ 101 w 211"/>
                <a:gd name="T31" fmla="*/ 40 h 344"/>
                <a:gd name="T32" fmla="*/ 76 w 211"/>
                <a:gd name="T33" fmla="*/ 48 h 344"/>
                <a:gd name="T34" fmla="*/ 51 w 211"/>
                <a:gd name="T35" fmla="*/ 56 h 344"/>
                <a:gd name="T36" fmla="*/ 34 w 211"/>
                <a:gd name="T37" fmla="*/ 72 h 344"/>
                <a:gd name="T38" fmla="*/ 26 w 211"/>
                <a:gd name="T39" fmla="*/ 96 h 344"/>
                <a:gd name="T40" fmla="*/ 42 w 211"/>
                <a:gd name="T41" fmla="*/ 112 h 344"/>
                <a:gd name="T42" fmla="*/ 17 w 211"/>
                <a:gd name="T43" fmla="*/ 120 h 344"/>
                <a:gd name="T44" fmla="*/ 9 w 211"/>
                <a:gd name="T45" fmla="*/ 144 h 344"/>
                <a:gd name="T46" fmla="*/ 9 w 211"/>
                <a:gd name="T47" fmla="*/ 168 h 344"/>
                <a:gd name="T48" fmla="*/ 26 w 211"/>
                <a:gd name="T49" fmla="*/ 192 h 344"/>
                <a:gd name="T50" fmla="*/ 0 w 211"/>
                <a:gd name="T51" fmla="*/ 208 h 344"/>
                <a:gd name="T52" fmla="*/ 0 w 211"/>
                <a:gd name="T53" fmla="*/ 224 h 344"/>
                <a:gd name="T54" fmla="*/ 26 w 211"/>
                <a:gd name="T55" fmla="*/ 272 h 344"/>
                <a:gd name="T56" fmla="*/ 42 w 211"/>
                <a:gd name="T57" fmla="*/ 256 h 344"/>
                <a:gd name="T58" fmla="*/ 51 w 211"/>
                <a:gd name="T59" fmla="*/ 304 h 344"/>
                <a:gd name="T60" fmla="*/ 59 w 211"/>
                <a:gd name="T61" fmla="*/ 328 h 344"/>
                <a:gd name="T62" fmla="*/ 84 w 211"/>
                <a:gd name="T63" fmla="*/ 336 h 344"/>
                <a:gd name="T64" fmla="*/ 143 w 211"/>
                <a:gd name="T65" fmla="*/ 344 h 34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1" h="344">
                  <a:moveTo>
                    <a:pt x="143" y="344"/>
                  </a:moveTo>
                  <a:lnTo>
                    <a:pt x="118" y="312"/>
                  </a:lnTo>
                  <a:lnTo>
                    <a:pt x="143" y="312"/>
                  </a:lnTo>
                  <a:lnTo>
                    <a:pt x="127" y="280"/>
                  </a:lnTo>
                  <a:lnTo>
                    <a:pt x="127" y="248"/>
                  </a:lnTo>
                  <a:lnTo>
                    <a:pt x="169" y="184"/>
                  </a:lnTo>
                  <a:lnTo>
                    <a:pt x="186" y="192"/>
                  </a:lnTo>
                  <a:lnTo>
                    <a:pt x="211" y="136"/>
                  </a:lnTo>
                  <a:lnTo>
                    <a:pt x="177" y="112"/>
                  </a:lnTo>
                  <a:lnTo>
                    <a:pt x="169" y="72"/>
                  </a:lnTo>
                  <a:lnTo>
                    <a:pt x="177" y="24"/>
                  </a:lnTo>
                  <a:lnTo>
                    <a:pt x="177" y="8"/>
                  </a:lnTo>
                  <a:lnTo>
                    <a:pt x="160" y="0"/>
                  </a:lnTo>
                  <a:lnTo>
                    <a:pt x="135" y="8"/>
                  </a:lnTo>
                  <a:lnTo>
                    <a:pt x="127" y="24"/>
                  </a:lnTo>
                  <a:lnTo>
                    <a:pt x="101" y="40"/>
                  </a:lnTo>
                  <a:lnTo>
                    <a:pt x="76" y="48"/>
                  </a:lnTo>
                  <a:lnTo>
                    <a:pt x="51" y="56"/>
                  </a:lnTo>
                  <a:lnTo>
                    <a:pt x="34" y="72"/>
                  </a:lnTo>
                  <a:lnTo>
                    <a:pt x="26" y="96"/>
                  </a:lnTo>
                  <a:lnTo>
                    <a:pt x="42" y="112"/>
                  </a:lnTo>
                  <a:lnTo>
                    <a:pt x="17" y="120"/>
                  </a:lnTo>
                  <a:lnTo>
                    <a:pt x="9" y="144"/>
                  </a:lnTo>
                  <a:lnTo>
                    <a:pt x="9" y="168"/>
                  </a:lnTo>
                  <a:lnTo>
                    <a:pt x="26" y="192"/>
                  </a:lnTo>
                  <a:lnTo>
                    <a:pt x="0" y="208"/>
                  </a:lnTo>
                  <a:lnTo>
                    <a:pt x="0" y="224"/>
                  </a:lnTo>
                  <a:lnTo>
                    <a:pt x="26" y="272"/>
                  </a:lnTo>
                  <a:lnTo>
                    <a:pt x="42" y="256"/>
                  </a:lnTo>
                  <a:lnTo>
                    <a:pt x="51" y="304"/>
                  </a:lnTo>
                  <a:lnTo>
                    <a:pt x="59" y="328"/>
                  </a:lnTo>
                  <a:lnTo>
                    <a:pt x="84" y="336"/>
                  </a:lnTo>
                  <a:lnTo>
                    <a:pt x="143" y="34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89" name="Freeform 43"/>
            <p:cNvSpPr>
              <a:spLocks/>
            </p:cNvSpPr>
            <p:nvPr/>
          </p:nvSpPr>
          <p:spPr bwMode="auto">
            <a:xfrm>
              <a:off x="3423" y="2080"/>
              <a:ext cx="750" cy="888"/>
            </a:xfrm>
            <a:custGeom>
              <a:avLst/>
              <a:gdLst>
                <a:gd name="T0" fmla="*/ 228 w 750"/>
                <a:gd name="T1" fmla="*/ 848 h 888"/>
                <a:gd name="T2" fmla="*/ 354 w 750"/>
                <a:gd name="T3" fmla="*/ 888 h 888"/>
                <a:gd name="T4" fmla="*/ 447 w 750"/>
                <a:gd name="T5" fmla="*/ 880 h 888"/>
                <a:gd name="T6" fmla="*/ 557 w 750"/>
                <a:gd name="T7" fmla="*/ 848 h 888"/>
                <a:gd name="T8" fmla="*/ 616 w 750"/>
                <a:gd name="T9" fmla="*/ 832 h 888"/>
                <a:gd name="T10" fmla="*/ 632 w 750"/>
                <a:gd name="T11" fmla="*/ 776 h 888"/>
                <a:gd name="T12" fmla="*/ 675 w 750"/>
                <a:gd name="T13" fmla="*/ 744 h 888"/>
                <a:gd name="T14" fmla="*/ 607 w 750"/>
                <a:gd name="T15" fmla="*/ 656 h 888"/>
                <a:gd name="T16" fmla="*/ 557 w 750"/>
                <a:gd name="T17" fmla="*/ 584 h 888"/>
                <a:gd name="T18" fmla="*/ 557 w 750"/>
                <a:gd name="T19" fmla="*/ 520 h 888"/>
                <a:gd name="T20" fmla="*/ 641 w 750"/>
                <a:gd name="T21" fmla="*/ 488 h 888"/>
                <a:gd name="T22" fmla="*/ 691 w 750"/>
                <a:gd name="T23" fmla="*/ 440 h 888"/>
                <a:gd name="T24" fmla="*/ 750 w 750"/>
                <a:gd name="T25" fmla="*/ 456 h 888"/>
                <a:gd name="T26" fmla="*/ 725 w 750"/>
                <a:gd name="T27" fmla="*/ 360 h 888"/>
                <a:gd name="T28" fmla="*/ 717 w 750"/>
                <a:gd name="T29" fmla="*/ 280 h 888"/>
                <a:gd name="T30" fmla="*/ 666 w 750"/>
                <a:gd name="T31" fmla="*/ 216 h 888"/>
                <a:gd name="T32" fmla="*/ 683 w 750"/>
                <a:gd name="T33" fmla="*/ 136 h 888"/>
                <a:gd name="T34" fmla="*/ 641 w 750"/>
                <a:gd name="T35" fmla="*/ 80 h 888"/>
                <a:gd name="T36" fmla="*/ 616 w 750"/>
                <a:gd name="T37" fmla="*/ 32 h 888"/>
                <a:gd name="T38" fmla="*/ 582 w 750"/>
                <a:gd name="T39" fmla="*/ 32 h 888"/>
                <a:gd name="T40" fmla="*/ 557 w 750"/>
                <a:gd name="T41" fmla="*/ 40 h 888"/>
                <a:gd name="T42" fmla="*/ 540 w 750"/>
                <a:gd name="T43" fmla="*/ 40 h 888"/>
                <a:gd name="T44" fmla="*/ 481 w 750"/>
                <a:gd name="T45" fmla="*/ 72 h 888"/>
                <a:gd name="T46" fmla="*/ 439 w 750"/>
                <a:gd name="T47" fmla="*/ 96 h 888"/>
                <a:gd name="T48" fmla="*/ 430 w 750"/>
                <a:gd name="T49" fmla="*/ 64 h 888"/>
                <a:gd name="T50" fmla="*/ 396 w 750"/>
                <a:gd name="T51" fmla="*/ 56 h 888"/>
                <a:gd name="T52" fmla="*/ 346 w 750"/>
                <a:gd name="T53" fmla="*/ 16 h 888"/>
                <a:gd name="T54" fmla="*/ 253 w 750"/>
                <a:gd name="T55" fmla="*/ 0 h 888"/>
                <a:gd name="T56" fmla="*/ 245 w 750"/>
                <a:gd name="T57" fmla="*/ 40 h 888"/>
                <a:gd name="T58" fmla="*/ 278 w 750"/>
                <a:gd name="T59" fmla="*/ 112 h 888"/>
                <a:gd name="T60" fmla="*/ 236 w 750"/>
                <a:gd name="T61" fmla="*/ 112 h 888"/>
                <a:gd name="T62" fmla="*/ 220 w 750"/>
                <a:gd name="T63" fmla="*/ 136 h 888"/>
                <a:gd name="T64" fmla="*/ 186 w 750"/>
                <a:gd name="T65" fmla="*/ 128 h 888"/>
                <a:gd name="T66" fmla="*/ 110 w 750"/>
                <a:gd name="T67" fmla="*/ 144 h 888"/>
                <a:gd name="T68" fmla="*/ 118 w 750"/>
                <a:gd name="T69" fmla="*/ 208 h 888"/>
                <a:gd name="T70" fmla="*/ 76 w 750"/>
                <a:gd name="T71" fmla="*/ 256 h 888"/>
                <a:gd name="T72" fmla="*/ 93 w 750"/>
                <a:gd name="T73" fmla="*/ 312 h 888"/>
                <a:gd name="T74" fmla="*/ 68 w 750"/>
                <a:gd name="T75" fmla="*/ 344 h 888"/>
                <a:gd name="T76" fmla="*/ 17 w 750"/>
                <a:gd name="T77" fmla="*/ 384 h 888"/>
                <a:gd name="T78" fmla="*/ 0 w 750"/>
                <a:gd name="T79" fmla="*/ 448 h 888"/>
                <a:gd name="T80" fmla="*/ 9 w 750"/>
                <a:gd name="T81" fmla="*/ 480 h 888"/>
                <a:gd name="T82" fmla="*/ 34 w 750"/>
                <a:gd name="T83" fmla="*/ 536 h 888"/>
                <a:gd name="T84" fmla="*/ 9 w 750"/>
                <a:gd name="T85" fmla="*/ 552 h 888"/>
                <a:gd name="T86" fmla="*/ 43 w 750"/>
                <a:gd name="T87" fmla="*/ 600 h 888"/>
                <a:gd name="T88" fmla="*/ 26 w 750"/>
                <a:gd name="T89" fmla="*/ 632 h 888"/>
                <a:gd name="T90" fmla="*/ 76 w 750"/>
                <a:gd name="T91" fmla="*/ 672 h 888"/>
                <a:gd name="T92" fmla="*/ 186 w 750"/>
                <a:gd name="T93" fmla="*/ 704 h 888"/>
                <a:gd name="T94" fmla="*/ 144 w 750"/>
                <a:gd name="T95" fmla="*/ 776 h 888"/>
                <a:gd name="T96" fmla="*/ 118 w 750"/>
                <a:gd name="T97" fmla="*/ 864 h 888"/>
                <a:gd name="T98" fmla="*/ 194 w 750"/>
                <a:gd name="T99" fmla="*/ 864 h 88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750" h="888">
                  <a:moveTo>
                    <a:pt x="194" y="864"/>
                  </a:moveTo>
                  <a:lnTo>
                    <a:pt x="228" y="848"/>
                  </a:lnTo>
                  <a:lnTo>
                    <a:pt x="312" y="872"/>
                  </a:lnTo>
                  <a:lnTo>
                    <a:pt x="354" y="888"/>
                  </a:lnTo>
                  <a:lnTo>
                    <a:pt x="388" y="872"/>
                  </a:lnTo>
                  <a:lnTo>
                    <a:pt x="447" y="880"/>
                  </a:lnTo>
                  <a:lnTo>
                    <a:pt x="489" y="872"/>
                  </a:lnTo>
                  <a:lnTo>
                    <a:pt x="557" y="848"/>
                  </a:lnTo>
                  <a:lnTo>
                    <a:pt x="616" y="864"/>
                  </a:lnTo>
                  <a:lnTo>
                    <a:pt x="616" y="832"/>
                  </a:lnTo>
                  <a:lnTo>
                    <a:pt x="599" y="800"/>
                  </a:lnTo>
                  <a:lnTo>
                    <a:pt x="632" y="776"/>
                  </a:lnTo>
                  <a:lnTo>
                    <a:pt x="641" y="744"/>
                  </a:lnTo>
                  <a:lnTo>
                    <a:pt x="675" y="744"/>
                  </a:lnTo>
                  <a:lnTo>
                    <a:pt x="683" y="712"/>
                  </a:lnTo>
                  <a:lnTo>
                    <a:pt x="607" y="656"/>
                  </a:lnTo>
                  <a:lnTo>
                    <a:pt x="548" y="608"/>
                  </a:lnTo>
                  <a:lnTo>
                    <a:pt x="557" y="584"/>
                  </a:lnTo>
                  <a:lnTo>
                    <a:pt x="523" y="544"/>
                  </a:lnTo>
                  <a:lnTo>
                    <a:pt x="557" y="520"/>
                  </a:lnTo>
                  <a:lnTo>
                    <a:pt x="599" y="512"/>
                  </a:lnTo>
                  <a:lnTo>
                    <a:pt x="641" y="488"/>
                  </a:lnTo>
                  <a:lnTo>
                    <a:pt x="683" y="472"/>
                  </a:lnTo>
                  <a:lnTo>
                    <a:pt x="691" y="440"/>
                  </a:lnTo>
                  <a:lnTo>
                    <a:pt x="725" y="440"/>
                  </a:lnTo>
                  <a:lnTo>
                    <a:pt x="750" y="456"/>
                  </a:lnTo>
                  <a:lnTo>
                    <a:pt x="750" y="392"/>
                  </a:lnTo>
                  <a:lnTo>
                    <a:pt x="725" y="360"/>
                  </a:lnTo>
                  <a:lnTo>
                    <a:pt x="742" y="320"/>
                  </a:lnTo>
                  <a:lnTo>
                    <a:pt x="717" y="280"/>
                  </a:lnTo>
                  <a:lnTo>
                    <a:pt x="717" y="248"/>
                  </a:lnTo>
                  <a:lnTo>
                    <a:pt x="666" y="216"/>
                  </a:lnTo>
                  <a:lnTo>
                    <a:pt x="691" y="168"/>
                  </a:lnTo>
                  <a:lnTo>
                    <a:pt x="683" y="136"/>
                  </a:lnTo>
                  <a:lnTo>
                    <a:pt x="675" y="88"/>
                  </a:lnTo>
                  <a:lnTo>
                    <a:pt x="641" y="80"/>
                  </a:lnTo>
                  <a:lnTo>
                    <a:pt x="607" y="64"/>
                  </a:lnTo>
                  <a:lnTo>
                    <a:pt x="616" y="32"/>
                  </a:lnTo>
                  <a:lnTo>
                    <a:pt x="590" y="16"/>
                  </a:lnTo>
                  <a:lnTo>
                    <a:pt x="582" y="32"/>
                  </a:lnTo>
                  <a:lnTo>
                    <a:pt x="573" y="48"/>
                  </a:lnTo>
                  <a:lnTo>
                    <a:pt x="557" y="40"/>
                  </a:lnTo>
                  <a:lnTo>
                    <a:pt x="548" y="40"/>
                  </a:lnTo>
                  <a:lnTo>
                    <a:pt x="540" y="40"/>
                  </a:lnTo>
                  <a:lnTo>
                    <a:pt x="514" y="64"/>
                  </a:lnTo>
                  <a:lnTo>
                    <a:pt x="481" y="72"/>
                  </a:lnTo>
                  <a:lnTo>
                    <a:pt x="464" y="96"/>
                  </a:lnTo>
                  <a:lnTo>
                    <a:pt x="439" y="96"/>
                  </a:lnTo>
                  <a:lnTo>
                    <a:pt x="413" y="88"/>
                  </a:lnTo>
                  <a:lnTo>
                    <a:pt x="430" y="64"/>
                  </a:lnTo>
                  <a:lnTo>
                    <a:pt x="422" y="32"/>
                  </a:lnTo>
                  <a:lnTo>
                    <a:pt x="396" y="56"/>
                  </a:lnTo>
                  <a:lnTo>
                    <a:pt x="346" y="40"/>
                  </a:lnTo>
                  <a:lnTo>
                    <a:pt x="346" y="16"/>
                  </a:lnTo>
                  <a:lnTo>
                    <a:pt x="337" y="8"/>
                  </a:lnTo>
                  <a:lnTo>
                    <a:pt x="253" y="0"/>
                  </a:lnTo>
                  <a:lnTo>
                    <a:pt x="270" y="24"/>
                  </a:lnTo>
                  <a:lnTo>
                    <a:pt x="245" y="40"/>
                  </a:lnTo>
                  <a:lnTo>
                    <a:pt x="245" y="64"/>
                  </a:lnTo>
                  <a:lnTo>
                    <a:pt x="278" y="112"/>
                  </a:lnTo>
                  <a:lnTo>
                    <a:pt x="253" y="112"/>
                  </a:lnTo>
                  <a:lnTo>
                    <a:pt x="236" y="112"/>
                  </a:lnTo>
                  <a:lnTo>
                    <a:pt x="228" y="128"/>
                  </a:lnTo>
                  <a:lnTo>
                    <a:pt x="220" y="136"/>
                  </a:lnTo>
                  <a:lnTo>
                    <a:pt x="211" y="136"/>
                  </a:lnTo>
                  <a:lnTo>
                    <a:pt x="186" y="128"/>
                  </a:lnTo>
                  <a:lnTo>
                    <a:pt x="135" y="128"/>
                  </a:lnTo>
                  <a:lnTo>
                    <a:pt x="110" y="144"/>
                  </a:lnTo>
                  <a:lnTo>
                    <a:pt x="110" y="168"/>
                  </a:lnTo>
                  <a:lnTo>
                    <a:pt x="118" y="208"/>
                  </a:lnTo>
                  <a:lnTo>
                    <a:pt x="102" y="248"/>
                  </a:lnTo>
                  <a:lnTo>
                    <a:pt x="76" y="256"/>
                  </a:lnTo>
                  <a:lnTo>
                    <a:pt x="102" y="280"/>
                  </a:lnTo>
                  <a:lnTo>
                    <a:pt x="93" y="312"/>
                  </a:lnTo>
                  <a:lnTo>
                    <a:pt x="68" y="320"/>
                  </a:lnTo>
                  <a:lnTo>
                    <a:pt x="68" y="344"/>
                  </a:lnTo>
                  <a:lnTo>
                    <a:pt x="17" y="352"/>
                  </a:lnTo>
                  <a:lnTo>
                    <a:pt x="17" y="384"/>
                  </a:lnTo>
                  <a:lnTo>
                    <a:pt x="17" y="432"/>
                  </a:lnTo>
                  <a:lnTo>
                    <a:pt x="0" y="448"/>
                  </a:lnTo>
                  <a:lnTo>
                    <a:pt x="0" y="472"/>
                  </a:lnTo>
                  <a:lnTo>
                    <a:pt x="9" y="480"/>
                  </a:lnTo>
                  <a:lnTo>
                    <a:pt x="34" y="504"/>
                  </a:lnTo>
                  <a:lnTo>
                    <a:pt x="34" y="536"/>
                  </a:lnTo>
                  <a:lnTo>
                    <a:pt x="17" y="552"/>
                  </a:lnTo>
                  <a:lnTo>
                    <a:pt x="9" y="552"/>
                  </a:lnTo>
                  <a:lnTo>
                    <a:pt x="9" y="576"/>
                  </a:lnTo>
                  <a:lnTo>
                    <a:pt x="43" y="600"/>
                  </a:lnTo>
                  <a:lnTo>
                    <a:pt x="26" y="632"/>
                  </a:lnTo>
                  <a:lnTo>
                    <a:pt x="51" y="664"/>
                  </a:lnTo>
                  <a:lnTo>
                    <a:pt x="76" y="672"/>
                  </a:lnTo>
                  <a:lnTo>
                    <a:pt x="135" y="688"/>
                  </a:lnTo>
                  <a:lnTo>
                    <a:pt x="186" y="704"/>
                  </a:lnTo>
                  <a:lnTo>
                    <a:pt x="152" y="736"/>
                  </a:lnTo>
                  <a:lnTo>
                    <a:pt x="144" y="776"/>
                  </a:lnTo>
                  <a:lnTo>
                    <a:pt x="127" y="864"/>
                  </a:lnTo>
                  <a:lnTo>
                    <a:pt x="118" y="864"/>
                  </a:lnTo>
                  <a:lnTo>
                    <a:pt x="144" y="872"/>
                  </a:lnTo>
                  <a:lnTo>
                    <a:pt x="194" y="8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90" name="Freeform 44"/>
            <p:cNvSpPr>
              <a:spLocks/>
            </p:cNvSpPr>
            <p:nvPr/>
          </p:nvSpPr>
          <p:spPr bwMode="auto">
            <a:xfrm>
              <a:off x="3398" y="2928"/>
              <a:ext cx="421" cy="232"/>
            </a:xfrm>
            <a:custGeom>
              <a:avLst/>
              <a:gdLst>
                <a:gd name="T0" fmla="*/ 371 w 421"/>
                <a:gd name="T1" fmla="*/ 104 h 232"/>
                <a:gd name="T2" fmla="*/ 354 w 421"/>
                <a:gd name="T3" fmla="*/ 88 h 232"/>
                <a:gd name="T4" fmla="*/ 329 w 421"/>
                <a:gd name="T5" fmla="*/ 72 h 232"/>
                <a:gd name="T6" fmla="*/ 337 w 421"/>
                <a:gd name="T7" fmla="*/ 32 h 232"/>
                <a:gd name="T8" fmla="*/ 337 w 421"/>
                <a:gd name="T9" fmla="*/ 24 h 232"/>
                <a:gd name="T10" fmla="*/ 253 w 421"/>
                <a:gd name="T11" fmla="*/ 0 h 232"/>
                <a:gd name="T12" fmla="*/ 219 w 421"/>
                <a:gd name="T13" fmla="*/ 16 h 232"/>
                <a:gd name="T14" fmla="*/ 169 w 421"/>
                <a:gd name="T15" fmla="*/ 24 h 232"/>
                <a:gd name="T16" fmla="*/ 143 w 421"/>
                <a:gd name="T17" fmla="*/ 16 h 232"/>
                <a:gd name="T18" fmla="*/ 118 w 421"/>
                <a:gd name="T19" fmla="*/ 32 h 232"/>
                <a:gd name="T20" fmla="*/ 84 w 421"/>
                <a:gd name="T21" fmla="*/ 40 h 232"/>
                <a:gd name="T22" fmla="*/ 76 w 421"/>
                <a:gd name="T23" fmla="*/ 72 h 232"/>
                <a:gd name="T24" fmla="*/ 51 w 421"/>
                <a:gd name="T25" fmla="*/ 88 h 232"/>
                <a:gd name="T26" fmla="*/ 42 w 421"/>
                <a:gd name="T27" fmla="*/ 112 h 232"/>
                <a:gd name="T28" fmla="*/ 9 w 421"/>
                <a:gd name="T29" fmla="*/ 152 h 232"/>
                <a:gd name="T30" fmla="*/ 0 w 421"/>
                <a:gd name="T31" fmla="*/ 184 h 232"/>
                <a:gd name="T32" fmla="*/ 34 w 421"/>
                <a:gd name="T33" fmla="*/ 168 h 232"/>
                <a:gd name="T34" fmla="*/ 76 w 421"/>
                <a:gd name="T35" fmla="*/ 184 h 232"/>
                <a:gd name="T36" fmla="*/ 84 w 421"/>
                <a:gd name="T37" fmla="*/ 200 h 232"/>
                <a:gd name="T38" fmla="*/ 101 w 421"/>
                <a:gd name="T39" fmla="*/ 224 h 232"/>
                <a:gd name="T40" fmla="*/ 177 w 421"/>
                <a:gd name="T41" fmla="*/ 216 h 232"/>
                <a:gd name="T42" fmla="*/ 219 w 421"/>
                <a:gd name="T43" fmla="*/ 152 h 232"/>
                <a:gd name="T44" fmla="*/ 287 w 421"/>
                <a:gd name="T45" fmla="*/ 232 h 232"/>
                <a:gd name="T46" fmla="*/ 312 w 421"/>
                <a:gd name="T47" fmla="*/ 152 h 232"/>
                <a:gd name="T48" fmla="*/ 354 w 421"/>
                <a:gd name="T49" fmla="*/ 160 h 232"/>
                <a:gd name="T50" fmla="*/ 379 w 421"/>
                <a:gd name="T51" fmla="*/ 144 h 232"/>
                <a:gd name="T52" fmla="*/ 413 w 421"/>
                <a:gd name="T53" fmla="*/ 144 h 232"/>
                <a:gd name="T54" fmla="*/ 421 w 421"/>
                <a:gd name="T55" fmla="*/ 136 h 232"/>
                <a:gd name="T56" fmla="*/ 413 w 421"/>
                <a:gd name="T57" fmla="*/ 96 h 232"/>
                <a:gd name="T58" fmla="*/ 371 w 421"/>
                <a:gd name="T59" fmla="*/ 104 h 23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421" h="232">
                  <a:moveTo>
                    <a:pt x="371" y="104"/>
                  </a:moveTo>
                  <a:lnTo>
                    <a:pt x="354" y="88"/>
                  </a:lnTo>
                  <a:lnTo>
                    <a:pt x="329" y="72"/>
                  </a:lnTo>
                  <a:lnTo>
                    <a:pt x="337" y="32"/>
                  </a:lnTo>
                  <a:lnTo>
                    <a:pt x="337" y="24"/>
                  </a:lnTo>
                  <a:lnTo>
                    <a:pt x="253" y="0"/>
                  </a:lnTo>
                  <a:lnTo>
                    <a:pt x="219" y="16"/>
                  </a:lnTo>
                  <a:lnTo>
                    <a:pt x="169" y="24"/>
                  </a:lnTo>
                  <a:lnTo>
                    <a:pt x="143" y="16"/>
                  </a:lnTo>
                  <a:lnTo>
                    <a:pt x="118" y="32"/>
                  </a:lnTo>
                  <a:lnTo>
                    <a:pt x="84" y="40"/>
                  </a:lnTo>
                  <a:lnTo>
                    <a:pt x="76" y="72"/>
                  </a:lnTo>
                  <a:lnTo>
                    <a:pt x="51" y="88"/>
                  </a:lnTo>
                  <a:lnTo>
                    <a:pt x="42" y="112"/>
                  </a:lnTo>
                  <a:lnTo>
                    <a:pt x="9" y="152"/>
                  </a:lnTo>
                  <a:lnTo>
                    <a:pt x="0" y="184"/>
                  </a:lnTo>
                  <a:lnTo>
                    <a:pt x="34" y="168"/>
                  </a:lnTo>
                  <a:lnTo>
                    <a:pt x="76" y="184"/>
                  </a:lnTo>
                  <a:lnTo>
                    <a:pt x="84" y="200"/>
                  </a:lnTo>
                  <a:lnTo>
                    <a:pt x="101" y="224"/>
                  </a:lnTo>
                  <a:lnTo>
                    <a:pt x="177" y="216"/>
                  </a:lnTo>
                  <a:lnTo>
                    <a:pt x="219" y="152"/>
                  </a:lnTo>
                  <a:lnTo>
                    <a:pt x="287" y="232"/>
                  </a:lnTo>
                  <a:lnTo>
                    <a:pt x="312" y="152"/>
                  </a:lnTo>
                  <a:lnTo>
                    <a:pt x="354" y="160"/>
                  </a:lnTo>
                  <a:lnTo>
                    <a:pt x="379" y="144"/>
                  </a:lnTo>
                  <a:lnTo>
                    <a:pt x="413" y="144"/>
                  </a:lnTo>
                  <a:lnTo>
                    <a:pt x="421" y="136"/>
                  </a:lnTo>
                  <a:lnTo>
                    <a:pt x="413" y="96"/>
                  </a:lnTo>
                  <a:lnTo>
                    <a:pt x="371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91" name="Freeform 45"/>
            <p:cNvSpPr>
              <a:spLocks/>
            </p:cNvSpPr>
            <p:nvPr/>
          </p:nvSpPr>
          <p:spPr bwMode="auto">
            <a:xfrm>
              <a:off x="3727" y="2760"/>
              <a:ext cx="682" cy="312"/>
            </a:xfrm>
            <a:custGeom>
              <a:avLst/>
              <a:gdLst>
                <a:gd name="T0" fmla="*/ 472 w 682"/>
                <a:gd name="T1" fmla="*/ 304 h 312"/>
                <a:gd name="T2" fmla="*/ 505 w 682"/>
                <a:gd name="T3" fmla="*/ 280 h 312"/>
                <a:gd name="T4" fmla="*/ 556 w 682"/>
                <a:gd name="T5" fmla="*/ 280 h 312"/>
                <a:gd name="T6" fmla="*/ 598 w 682"/>
                <a:gd name="T7" fmla="*/ 272 h 312"/>
                <a:gd name="T8" fmla="*/ 598 w 682"/>
                <a:gd name="T9" fmla="*/ 248 h 312"/>
                <a:gd name="T10" fmla="*/ 623 w 682"/>
                <a:gd name="T11" fmla="*/ 224 h 312"/>
                <a:gd name="T12" fmla="*/ 632 w 682"/>
                <a:gd name="T13" fmla="*/ 184 h 312"/>
                <a:gd name="T14" fmla="*/ 632 w 682"/>
                <a:gd name="T15" fmla="*/ 144 h 312"/>
                <a:gd name="T16" fmla="*/ 674 w 682"/>
                <a:gd name="T17" fmla="*/ 128 h 312"/>
                <a:gd name="T18" fmla="*/ 682 w 682"/>
                <a:gd name="T19" fmla="*/ 96 h 312"/>
                <a:gd name="T20" fmla="*/ 649 w 682"/>
                <a:gd name="T21" fmla="*/ 72 h 312"/>
                <a:gd name="T22" fmla="*/ 649 w 682"/>
                <a:gd name="T23" fmla="*/ 24 h 312"/>
                <a:gd name="T24" fmla="*/ 564 w 682"/>
                <a:gd name="T25" fmla="*/ 24 h 312"/>
                <a:gd name="T26" fmla="*/ 488 w 682"/>
                <a:gd name="T27" fmla="*/ 0 h 312"/>
                <a:gd name="T28" fmla="*/ 463 w 682"/>
                <a:gd name="T29" fmla="*/ 48 h 312"/>
                <a:gd name="T30" fmla="*/ 413 w 682"/>
                <a:gd name="T31" fmla="*/ 64 h 312"/>
                <a:gd name="T32" fmla="*/ 371 w 682"/>
                <a:gd name="T33" fmla="*/ 40 h 312"/>
                <a:gd name="T34" fmla="*/ 371 w 682"/>
                <a:gd name="T35" fmla="*/ 64 h 312"/>
                <a:gd name="T36" fmla="*/ 337 w 682"/>
                <a:gd name="T37" fmla="*/ 64 h 312"/>
                <a:gd name="T38" fmla="*/ 328 w 682"/>
                <a:gd name="T39" fmla="*/ 96 h 312"/>
                <a:gd name="T40" fmla="*/ 295 w 682"/>
                <a:gd name="T41" fmla="*/ 120 h 312"/>
                <a:gd name="T42" fmla="*/ 312 w 682"/>
                <a:gd name="T43" fmla="*/ 152 h 312"/>
                <a:gd name="T44" fmla="*/ 312 w 682"/>
                <a:gd name="T45" fmla="*/ 184 h 312"/>
                <a:gd name="T46" fmla="*/ 253 w 682"/>
                <a:gd name="T47" fmla="*/ 168 h 312"/>
                <a:gd name="T48" fmla="*/ 185 w 682"/>
                <a:gd name="T49" fmla="*/ 192 h 312"/>
                <a:gd name="T50" fmla="*/ 143 w 682"/>
                <a:gd name="T51" fmla="*/ 200 h 312"/>
                <a:gd name="T52" fmla="*/ 84 w 682"/>
                <a:gd name="T53" fmla="*/ 192 h 312"/>
                <a:gd name="T54" fmla="*/ 50 w 682"/>
                <a:gd name="T55" fmla="*/ 208 h 312"/>
                <a:gd name="T56" fmla="*/ 8 w 682"/>
                <a:gd name="T57" fmla="*/ 200 h 312"/>
                <a:gd name="T58" fmla="*/ 0 w 682"/>
                <a:gd name="T59" fmla="*/ 240 h 312"/>
                <a:gd name="T60" fmla="*/ 25 w 682"/>
                <a:gd name="T61" fmla="*/ 256 h 312"/>
                <a:gd name="T62" fmla="*/ 42 w 682"/>
                <a:gd name="T63" fmla="*/ 272 h 312"/>
                <a:gd name="T64" fmla="*/ 84 w 682"/>
                <a:gd name="T65" fmla="*/ 264 h 312"/>
                <a:gd name="T66" fmla="*/ 92 w 682"/>
                <a:gd name="T67" fmla="*/ 304 h 312"/>
                <a:gd name="T68" fmla="*/ 101 w 682"/>
                <a:gd name="T69" fmla="*/ 280 h 312"/>
                <a:gd name="T70" fmla="*/ 135 w 682"/>
                <a:gd name="T71" fmla="*/ 288 h 312"/>
                <a:gd name="T72" fmla="*/ 168 w 682"/>
                <a:gd name="T73" fmla="*/ 256 h 312"/>
                <a:gd name="T74" fmla="*/ 244 w 682"/>
                <a:gd name="T75" fmla="*/ 248 h 312"/>
                <a:gd name="T76" fmla="*/ 261 w 682"/>
                <a:gd name="T77" fmla="*/ 272 h 312"/>
                <a:gd name="T78" fmla="*/ 379 w 682"/>
                <a:gd name="T79" fmla="*/ 304 h 312"/>
                <a:gd name="T80" fmla="*/ 379 w 682"/>
                <a:gd name="T81" fmla="*/ 312 h 312"/>
                <a:gd name="T82" fmla="*/ 413 w 682"/>
                <a:gd name="T83" fmla="*/ 304 h 312"/>
                <a:gd name="T84" fmla="*/ 472 w 682"/>
                <a:gd name="T85" fmla="*/ 304 h 31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682" h="312">
                  <a:moveTo>
                    <a:pt x="472" y="304"/>
                  </a:moveTo>
                  <a:lnTo>
                    <a:pt x="505" y="280"/>
                  </a:lnTo>
                  <a:lnTo>
                    <a:pt x="556" y="280"/>
                  </a:lnTo>
                  <a:lnTo>
                    <a:pt x="598" y="272"/>
                  </a:lnTo>
                  <a:lnTo>
                    <a:pt x="598" y="248"/>
                  </a:lnTo>
                  <a:lnTo>
                    <a:pt x="623" y="224"/>
                  </a:lnTo>
                  <a:lnTo>
                    <a:pt x="632" y="184"/>
                  </a:lnTo>
                  <a:lnTo>
                    <a:pt x="632" y="144"/>
                  </a:lnTo>
                  <a:lnTo>
                    <a:pt x="674" y="128"/>
                  </a:lnTo>
                  <a:lnTo>
                    <a:pt x="682" y="96"/>
                  </a:lnTo>
                  <a:lnTo>
                    <a:pt x="649" y="72"/>
                  </a:lnTo>
                  <a:lnTo>
                    <a:pt x="649" y="24"/>
                  </a:lnTo>
                  <a:lnTo>
                    <a:pt x="564" y="24"/>
                  </a:lnTo>
                  <a:lnTo>
                    <a:pt x="488" y="0"/>
                  </a:lnTo>
                  <a:lnTo>
                    <a:pt x="463" y="48"/>
                  </a:lnTo>
                  <a:lnTo>
                    <a:pt x="413" y="64"/>
                  </a:lnTo>
                  <a:lnTo>
                    <a:pt x="371" y="40"/>
                  </a:lnTo>
                  <a:lnTo>
                    <a:pt x="371" y="64"/>
                  </a:lnTo>
                  <a:lnTo>
                    <a:pt x="337" y="64"/>
                  </a:lnTo>
                  <a:lnTo>
                    <a:pt x="328" y="96"/>
                  </a:lnTo>
                  <a:lnTo>
                    <a:pt x="295" y="120"/>
                  </a:lnTo>
                  <a:lnTo>
                    <a:pt x="312" y="152"/>
                  </a:lnTo>
                  <a:lnTo>
                    <a:pt x="312" y="184"/>
                  </a:lnTo>
                  <a:lnTo>
                    <a:pt x="253" y="168"/>
                  </a:lnTo>
                  <a:lnTo>
                    <a:pt x="185" y="192"/>
                  </a:lnTo>
                  <a:lnTo>
                    <a:pt x="143" y="200"/>
                  </a:lnTo>
                  <a:lnTo>
                    <a:pt x="84" y="192"/>
                  </a:lnTo>
                  <a:lnTo>
                    <a:pt x="50" y="208"/>
                  </a:lnTo>
                  <a:lnTo>
                    <a:pt x="8" y="200"/>
                  </a:lnTo>
                  <a:lnTo>
                    <a:pt x="0" y="240"/>
                  </a:lnTo>
                  <a:lnTo>
                    <a:pt x="25" y="256"/>
                  </a:lnTo>
                  <a:lnTo>
                    <a:pt x="42" y="272"/>
                  </a:lnTo>
                  <a:lnTo>
                    <a:pt x="84" y="264"/>
                  </a:lnTo>
                  <a:lnTo>
                    <a:pt x="92" y="304"/>
                  </a:lnTo>
                  <a:lnTo>
                    <a:pt x="101" y="280"/>
                  </a:lnTo>
                  <a:lnTo>
                    <a:pt x="135" y="288"/>
                  </a:lnTo>
                  <a:lnTo>
                    <a:pt x="168" y="256"/>
                  </a:lnTo>
                  <a:lnTo>
                    <a:pt x="244" y="248"/>
                  </a:lnTo>
                  <a:lnTo>
                    <a:pt x="261" y="272"/>
                  </a:lnTo>
                  <a:lnTo>
                    <a:pt x="379" y="304"/>
                  </a:lnTo>
                  <a:lnTo>
                    <a:pt x="379" y="312"/>
                  </a:lnTo>
                  <a:lnTo>
                    <a:pt x="413" y="304"/>
                  </a:lnTo>
                  <a:lnTo>
                    <a:pt x="472" y="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92" name="Freeform 46"/>
            <p:cNvSpPr>
              <a:spLocks/>
            </p:cNvSpPr>
            <p:nvPr/>
          </p:nvSpPr>
          <p:spPr bwMode="auto">
            <a:xfrm>
              <a:off x="3398" y="2928"/>
              <a:ext cx="421" cy="232"/>
            </a:xfrm>
            <a:custGeom>
              <a:avLst/>
              <a:gdLst>
                <a:gd name="T0" fmla="*/ 371 w 421"/>
                <a:gd name="T1" fmla="*/ 104 h 232"/>
                <a:gd name="T2" fmla="*/ 354 w 421"/>
                <a:gd name="T3" fmla="*/ 88 h 232"/>
                <a:gd name="T4" fmla="*/ 329 w 421"/>
                <a:gd name="T5" fmla="*/ 72 h 232"/>
                <a:gd name="T6" fmla="*/ 337 w 421"/>
                <a:gd name="T7" fmla="*/ 32 h 232"/>
                <a:gd name="T8" fmla="*/ 337 w 421"/>
                <a:gd name="T9" fmla="*/ 24 h 232"/>
                <a:gd name="T10" fmla="*/ 253 w 421"/>
                <a:gd name="T11" fmla="*/ 0 h 232"/>
                <a:gd name="T12" fmla="*/ 219 w 421"/>
                <a:gd name="T13" fmla="*/ 16 h 232"/>
                <a:gd name="T14" fmla="*/ 169 w 421"/>
                <a:gd name="T15" fmla="*/ 24 h 232"/>
                <a:gd name="T16" fmla="*/ 143 w 421"/>
                <a:gd name="T17" fmla="*/ 16 h 232"/>
                <a:gd name="T18" fmla="*/ 118 w 421"/>
                <a:gd name="T19" fmla="*/ 32 h 232"/>
                <a:gd name="T20" fmla="*/ 84 w 421"/>
                <a:gd name="T21" fmla="*/ 40 h 232"/>
                <a:gd name="T22" fmla="*/ 76 w 421"/>
                <a:gd name="T23" fmla="*/ 72 h 232"/>
                <a:gd name="T24" fmla="*/ 51 w 421"/>
                <a:gd name="T25" fmla="*/ 88 h 232"/>
                <a:gd name="T26" fmla="*/ 42 w 421"/>
                <a:gd name="T27" fmla="*/ 112 h 232"/>
                <a:gd name="T28" fmla="*/ 9 w 421"/>
                <a:gd name="T29" fmla="*/ 152 h 232"/>
                <a:gd name="T30" fmla="*/ 0 w 421"/>
                <a:gd name="T31" fmla="*/ 184 h 232"/>
                <a:gd name="T32" fmla="*/ 34 w 421"/>
                <a:gd name="T33" fmla="*/ 168 h 232"/>
                <a:gd name="T34" fmla="*/ 76 w 421"/>
                <a:gd name="T35" fmla="*/ 184 h 232"/>
                <a:gd name="T36" fmla="*/ 84 w 421"/>
                <a:gd name="T37" fmla="*/ 200 h 232"/>
                <a:gd name="T38" fmla="*/ 101 w 421"/>
                <a:gd name="T39" fmla="*/ 224 h 232"/>
                <a:gd name="T40" fmla="*/ 177 w 421"/>
                <a:gd name="T41" fmla="*/ 216 h 232"/>
                <a:gd name="T42" fmla="*/ 219 w 421"/>
                <a:gd name="T43" fmla="*/ 152 h 232"/>
                <a:gd name="T44" fmla="*/ 287 w 421"/>
                <a:gd name="T45" fmla="*/ 232 h 232"/>
                <a:gd name="T46" fmla="*/ 312 w 421"/>
                <a:gd name="T47" fmla="*/ 152 h 232"/>
                <a:gd name="T48" fmla="*/ 354 w 421"/>
                <a:gd name="T49" fmla="*/ 160 h 232"/>
                <a:gd name="T50" fmla="*/ 379 w 421"/>
                <a:gd name="T51" fmla="*/ 144 h 232"/>
                <a:gd name="T52" fmla="*/ 413 w 421"/>
                <a:gd name="T53" fmla="*/ 144 h 232"/>
                <a:gd name="T54" fmla="*/ 421 w 421"/>
                <a:gd name="T55" fmla="*/ 136 h 232"/>
                <a:gd name="T56" fmla="*/ 413 w 421"/>
                <a:gd name="T57" fmla="*/ 96 h 232"/>
                <a:gd name="T58" fmla="*/ 371 w 421"/>
                <a:gd name="T59" fmla="*/ 104 h 23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421" h="232">
                  <a:moveTo>
                    <a:pt x="371" y="104"/>
                  </a:moveTo>
                  <a:lnTo>
                    <a:pt x="354" y="88"/>
                  </a:lnTo>
                  <a:lnTo>
                    <a:pt x="329" y="72"/>
                  </a:lnTo>
                  <a:lnTo>
                    <a:pt x="337" y="32"/>
                  </a:lnTo>
                  <a:lnTo>
                    <a:pt x="337" y="24"/>
                  </a:lnTo>
                  <a:lnTo>
                    <a:pt x="253" y="0"/>
                  </a:lnTo>
                  <a:lnTo>
                    <a:pt x="219" y="16"/>
                  </a:lnTo>
                  <a:lnTo>
                    <a:pt x="169" y="24"/>
                  </a:lnTo>
                  <a:lnTo>
                    <a:pt x="143" y="16"/>
                  </a:lnTo>
                  <a:lnTo>
                    <a:pt x="118" y="32"/>
                  </a:lnTo>
                  <a:lnTo>
                    <a:pt x="84" y="40"/>
                  </a:lnTo>
                  <a:lnTo>
                    <a:pt x="76" y="72"/>
                  </a:lnTo>
                  <a:lnTo>
                    <a:pt x="51" y="88"/>
                  </a:lnTo>
                  <a:lnTo>
                    <a:pt x="42" y="112"/>
                  </a:lnTo>
                  <a:lnTo>
                    <a:pt x="9" y="152"/>
                  </a:lnTo>
                  <a:lnTo>
                    <a:pt x="0" y="184"/>
                  </a:lnTo>
                  <a:lnTo>
                    <a:pt x="34" y="168"/>
                  </a:lnTo>
                  <a:lnTo>
                    <a:pt x="76" y="184"/>
                  </a:lnTo>
                  <a:lnTo>
                    <a:pt x="84" y="200"/>
                  </a:lnTo>
                  <a:lnTo>
                    <a:pt x="101" y="224"/>
                  </a:lnTo>
                  <a:lnTo>
                    <a:pt x="177" y="216"/>
                  </a:lnTo>
                  <a:lnTo>
                    <a:pt x="219" y="152"/>
                  </a:lnTo>
                  <a:lnTo>
                    <a:pt x="287" y="232"/>
                  </a:lnTo>
                  <a:lnTo>
                    <a:pt x="312" y="152"/>
                  </a:lnTo>
                  <a:lnTo>
                    <a:pt x="354" y="160"/>
                  </a:lnTo>
                  <a:lnTo>
                    <a:pt x="379" y="144"/>
                  </a:lnTo>
                  <a:lnTo>
                    <a:pt x="413" y="144"/>
                  </a:lnTo>
                  <a:lnTo>
                    <a:pt x="421" y="136"/>
                  </a:lnTo>
                  <a:lnTo>
                    <a:pt x="413" y="96"/>
                  </a:lnTo>
                  <a:lnTo>
                    <a:pt x="371" y="1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93" name="Freeform 47"/>
            <p:cNvSpPr>
              <a:spLocks/>
            </p:cNvSpPr>
            <p:nvPr/>
          </p:nvSpPr>
          <p:spPr bwMode="auto">
            <a:xfrm>
              <a:off x="3727" y="2760"/>
              <a:ext cx="682" cy="312"/>
            </a:xfrm>
            <a:custGeom>
              <a:avLst/>
              <a:gdLst>
                <a:gd name="T0" fmla="*/ 472 w 682"/>
                <a:gd name="T1" fmla="*/ 304 h 312"/>
                <a:gd name="T2" fmla="*/ 505 w 682"/>
                <a:gd name="T3" fmla="*/ 280 h 312"/>
                <a:gd name="T4" fmla="*/ 556 w 682"/>
                <a:gd name="T5" fmla="*/ 280 h 312"/>
                <a:gd name="T6" fmla="*/ 598 w 682"/>
                <a:gd name="T7" fmla="*/ 272 h 312"/>
                <a:gd name="T8" fmla="*/ 598 w 682"/>
                <a:gd name="T9" fmla="*/ 248 h 312"/>
                <a:gd name="T10" fmla="*/ 623 w 682"/>
                <a:gd name="T11" fmla="*/ 224 h 312"/>
                <a:gd name="T12" fmla="*/ 632 w 682"/>
                <a:gd name="T13" fmla="*/ 184 h 312"/>
                <a:gd name="T14" fmla="*/ 632 w 682"/>
                <a:gd name="T15" fmla="*/ 144 h 312"/>
                <a:gd name="T16" fmla="*/ 674 w 682"/>
                <a:gd name="T17" fmla="*/ 128 h 312"/>
                <a:gd name="T18" fmla="*/ 682 w 682"/>
                <a:gd name="T19" fmla="*/ 96 h 312"/>
                <a:gd name="T20" fmla="*/ 649 w 682"/>
                <a:gd name="T21" fmla="*/ 72 h 312"/>
                <a:gd name="T22" fmla="*/ 649 w 682"/>
                <a:gd name="T23" fmla="*/ 24 h 312"/>
                <a:gd name="T24" fmla="*/ 564 w 682"/>
                <a:gd name="T25" fmla="*/ 24 h 312"/>
                <a:gd name="T26" fmla="*/ 488 w 682"/>
                <a:gd name="T27" fmla="*/ 0 h 312"/>
                <a:gd name="T28" fmla="*/ 463 w 682"/>
                <a:gd name="T29" fmla="*/ 48 h 312"/>
                <a:gd name="T30" fmla="*/ 413 w 682"/>
                <a:gd name="T31" fmla="*/ 64 h 312"/>
                <a:gd name="T32" fmla="*/ 371 w 682"/>
                <a:gd name="T33" fmla="*/ 40 h 312"/>
                <a:gd name="T34" fmla="*/ 371 w 682"/>
                <a:gd name="T35" fmla="*/ 64 h 312"/>
                <a:gd name="T36" fmla="*/ 337 w 682"/>
                <a:gd name="T37" fmla="*/ 64 h 312"/>
                <a:gd name="T38" fmla="*/ 328 w 682"/>
                <a:gd name="T39" fmla="*/ 96 h 312"/>
                <a:gd name="T40" fmla="*/ 295 w 682"/>
                <a:gd name="T41" fmla="*/ 120 h 312"/>
                <a:gd name="T42" fmla="*/ 312 w 682"/>
                <a:gd name="T43" fmla="*/ 152 h 312"/>
                <a:gd name="T44" fmla="*/ 312 w 682"/>
                <a:gd name="T45" fmla="*/ 184 h 312"/>
                <a:gd name="T46" fmla="*/ 253 w 682"/>
                <a:gd name="T47" fmla="*/ 168 h 312"/>
                <a:gd name="T48" fmla="*/ 185 w 682"/>
                <a:gd name="T49" fmla="*/ 192 h 312"/>
                <a:gd name="T50" fmla="*/ 143 w 682"/>
                <a:gd name="T51" fmla="*/ 200 h 312"/>
                <a:gd name="T52" fmla="*/ 84 w 682"/>
                <a:gd name="T53" fmla="*/ 192 h 312"/>
                <a:gd name="T54" fmla="*/ 50 w 682"/>
                <a:gd name="T55" fmla="*/ 208 h 312"/>
                <a:gd name="T56" fmla="*/ 8 w 682"/>
                <a:gd name="T57" fmla="*/ 200 h 312"/>
                <a:gd name="T58" fmla="*/ 0 w 682"/>
                <a:gd name="T59" fmla="*/ 240 h 312"/>
                <a:gd name="T60" fmla="*/ 25 w 682"/>
                <a:gd name="T61" fmla="*/ 256 h 312"/>
                <a:gd name="T62" fmla="*/ 42 w 682"/>
                <a:gd name="T63" fmla="*/ 272 h 312"/>
                <a:gd name="T64" fmla="*/ 84 w 682"/>
                <a:gd name="T65" fmla="*/ 264 h 312"/>
                <a:gd name="T66" fmla="*/ 92 w 682"/>
                <a:gd name="T67" fmla="*/ 304 h 312"/>
                <a:gd name="T68" fmla="*/ 101 w 682"/>
                <a:gd name="T69" fmla="*/ 280 h 312"/>
                <a:gd name="T70" fmla="*/ 135 w 682"/>
                <a:gd name="T71" fmla="*/ 288 h 312"/>
                <a:gd name="T72" fmla="*/ 168 w 682"/>
                <a:gd name="T73" fmla="*/ 256 h 312"/>
                <a:gd name="T74" fmla="*/ 244 w 682"/>
                <a:gd name="T75" fmla="*/ 248 h 312"/>
                <a:gd name="T76" fmla="*/ 261 w 682"/>
                <a:gd name="T77" fmla="*/ 272 h 312"/>
                <a:gd name="T78" fmla="*/ 379 w 682"/>
                <a:gd name="T79" fmla="*/ 304 h 312"/>
                <a:gd name="T80" fmla="*/ 379 w 682"/>
                <a:gd name="T81" fmla="*/ 312 h 312"/>
                <a:gd name="T82" fmla="*/ 413 w 682"/>
                <a:gd name="T83" fmla="*/ 304 h 312"/>
                <a:gd name="T84" fmla="*/ 472 w 682"/>
                <a:gd name="T85" fmla="*/ 304 h 31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682" h="312">
                  <a:moveTo>
                    <a:pt x="472" y="304"/>
                  </a:moveTo>
                  <a:lnTo>
                    <a:pt x="505" y="280"/>
                  </a:lnTo>
                  <a:lnTo>
                    <a:pt x="556" y="280"/>
                  </a:lnTo>
                  <a:lnTo>
                    <a:pt x="598" y="272"/>
                  </a:lnTo>
                  <a:lnTo>
                    <a:pt x="598" y="248"/>
                  </a:lnTo>
                  <a:lnTo>
                    <a:pt x="623" y="224"/>
                  </a:lnTo>
                  <a:lnTo>
                    <a:pt x="632" y="184"/>
                  </a:lnTo>
                  <a:lnTo>
                    <a:pt x="632" y="144"/>
                  </a:lnTo>
                  <a:lnTo>
                    <a:pt x="674" y="128"/>
                  </a:lnTo>
                  <a:lnTo>
                    <a:pt x="682" y="96"/>
                  </a:lnTo>
                  <a:lnTo>
                    <a:pt x="649" y="72"/>
                  </a:lnTo>
                  <a:lnTo>
                    <a:pt x="649" y="24"/>
                  </a:lnTo>
                  <a:lnTo>
                    <a:pt x="564" y="24"/>
                  </a:lnTo>
                  <a:lnTo>
                    <a:pt x="488" y="0"/>
                  </a:lnTo>
                  <a:lnTo>
                    <a:pt x="463" y="48"/>
                  </a:lnTo>
                  <a:lnTo>
                    <a:pt x="413" y="64"/>
                  </a:lnTo>
                  <a:lnTo>
                    <a:pt x="371" y="40"/>
                  </a:lnTo>
                  <a:lnTo>
                    <a:pt x="371" y="64"/>
                  </a:lnTo>
                  <a:lnTo>
                    <a:pt x="337" y="64"/>
                  </a:lnTo>
                  <a:lnTo>
                    <a:pt x="328" y="96"/>
                  </a:lnTo>
                  <a:lnTo>
                    <a:pt x="295" y="120"/>
                  </a:lnTo>
                  <a:lnTo>
                    <a:pt x="312" y="152"/>
                  </a:lnTo>
                  <a:lnTo>
                    <a:pt x="312" y="184"/>
                  </a:lnTo>
                  <a:lnTo>
                    <a:pt x="253" y="168"/>
                  </a:lnTo>
                  <a:lnTo>
                    <a:pt x="185" y="192"/>
                  </a:lnTo>
                  <a:lnTo>
                    <a:pt x="143" y="200"/>
                  </a:lnTo>
                  <a:lnTo>
                    <a:pt x="84" y="192"/>
                  </a:lnTo>
                  <a:lnTo>
                    <a:pt x="50" y="208"/>
                  </a:lnTo>
                  <a:lnTo>
                    <a:pt x="8" y="200"/>
                  </a:lnTo>
                  <a:lnTo>
                    <a:pt x="0" y="240"/>
                  </a:lnTo>
                  <a:lnTo>
                    <a:pt x="25" y="256"/>
                  </a:lnTo>
                  <a:lnTo>
                    <a:pt x="42" y="272"/>
                  </a:lnTo>
                  <a:lnTo>
                    <a:pt x="84" y="264"/>
                  </a:lnTo>
                  <a:lnTo>
                    <a:pt x="92" y="304"/>
                  </a:lnTo>
                  <a:lnTo>
                    <a:pt x="101" y="280"/>
                  </a:lnTo>
                  <a:lnTo>
                    <a:pt x="135" y="288"/>
                  </a:lnTo>
                  <a:lnTo>
                    <a:pt x="168" y="256"/>
                  </a:lnTo>
                  <a:lnTo>
                    <a:pt x="244" y="248"/>
                  </a:lnTo>
                  <a:lnTo>
                    <a:pt x="261" y="272"/>
                  </a:lnTo>
                  <a:lnTo>
                    <a:pt x="379" y="304"/>
                  </a:lnTo>
                  <a:lnTo>
                    <a:pt x="379" y="312"/>
                  </a:lnTo>
                  <a:lnTo>
                    <a:pt x="413" y="304"/>
                  </a:lnTo>
                  <a:lnTo>
                    <a:pt x="472" y="3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94" name="Freeform 48"/>
            <p:cNvSpPr>
              <a:spLocks/>
            </p:cNvSpPr>
            <p:nvPr/>
          </p:nvSpPr>
          <p:spPr bwMode="auto">
            <a:xfrm>
              <a:off x="3946" y="2512"/>
              <a:ext cx="581" cy="312"/>
            </a:xfrm>
            <a:custGeom>
              <a:avLst/>
              <a:gdLst>
                <a:gd name="T0" fmla="*/ 497 w 581"/>
                <a:gd name="T1" fmla="*/ 248 h 312"/>
                <a:gd name="T2" fmla="*/ 531 w 581"/>
                <a:gd name="T3" fmla="*/ 200 h 312"/>
                <a:gd name="T4" fmla="*/ 556 w 581"/>
                <a:gd name="T5" fmla="*/ 176 h 312"/>
                <a:gd name="T6" fmla="*/ 581 w 581"/>
                <a:gd name="T7" fmla="*/ 152 h 312"/>
                <a:gd name="T8" fmla="*/ 564 w 581"/>
                <a:gd name="T9" fmla="*/ 120 h 312"/>
                <a:gd name="T10" fmla="*/ 522 w 581"/>
                <a:gd name="T11" fmla="*/ 112 h 312"/>
                <a:gd name="T12" fmla="*/ 480 w 581"/>
                <a:gd name="T13" fmla="*/ 104 h 312"/>
                <a:gd name="T14" fmla="*/ 463 w 581"/>
                <a:gd name="T15" fmla="*/ 80 h 312"/>
                <a:gd name="T16" fmla="*/ 413 w 581"/>
                <a:gd name="T17" fmla="*/ 64 h 312"/>
                <a:gd name="T18" fmla="*/ 413 w 581"/>
                <a:gd name="T19" fmla="*/ 88 h 312"/>
                <a:gd name="T20" fmla="*/ 387 w 581"/>
                <a:gd name="T21" fmla="*/ 104 h 312"/>
                <a:gd name="T22" fmla="*/ 345 w 581"/>
                <a:gd name="T23" fmla="*/ 72 h 312"/>
                <a:gd name="T24" fmla="*/ 354 w 581"/>
                <a:gd name="T25" fmla="*/ 40 h 312"/>
                <a:gd name="T26" fmla="*/ 312 w 581"/>
                <a:gd name="T27" fmla="*/ 40 h 312"/>
                <a:gd name="T28" fmla="*/ 269 w 581"/>
                <a:gd name="T29" fmla="*/ 24 h 312"/>
                <a:gd name="T30" fmla="*/ 227 w 581"/>
                <a:gd name="T31" fmla="*/ 0 h 312"/>
                <a:gd name="T32" fmla="*/ 227 w 581"/>
                <a:gd name="T33" fmla="*/ 24 h 312"/>
                <a:gd name="T34" fmla="*/ 202 w 581"/>
                <a:gd name="T35" fmla="*/ 8 h 312"/>
                <a:gd name="T36" fmla="*/ 168 w 581"/>
                <a:gd name="T37" fmla="*/ 8 h 312"/>
                <a:gd name="T38" fmla="*/ 160 w 581"/>
                <a:gd name="T39" fmla="*/ 40 h 312"/>
                <a:gd name="T40" fmla="*/ 118 w 581"/>
                <a:gd name="T41" fmla="*/ 56 h 312"/>
                <a:gd name="T42" fmla="*/ 76 w 581"/>
                <a:gd name="T43" fmla="*/ 80 h 312"/>
                <a:gd name="T44" fmla="*/ 34 w 581"/>
                <a:gd name="T45" fmla="*/ 88 h 312"/>
                <a:gd name="T46" fmla="*/ 0 w 581"/>
                <a:gd name="T47" fmla="*/ 112 h 312"/>
                <a:gd name="T48" fmla="*/ 34 w 581"/>
                <a:gd name="T49" fmla="*/ 152 h 312"/>
                <a:gd name="T50" fmla="*/ 25 w 581"/>
                <a:gd name="T51" fmla="*/ 176 h 312"/>
                <a:gd name="T52" fmla="*/ 84 w 581"/>
                <a:gd name="T53" fmla="*/ 224 h 312"/>
                <a:gd name="T54" fmla="*/ 160 w 581"/>
                <a:gd name="T55" fmla="*/ 280 h 312"/>
                <a:gd name="T56" fmla="*/ 152 w 581"/>
                <a:gd name="T57" fmla="*/ 288 h 312"/>
                <a:gd name="T58" fmla="*/ 194 w 581"/>
                <a:gd name="T59" fmla="*/ 312 h 312"/>
                <a:gd name="T60" fmla="*/ 244 w 581"/>
                <a:gd name="T61" fmla="*/ 296 h 312"/>
                <a:gd name="T62" fmla="*/ 269 w 581"/>
                <a:gd name="T63" fmla="*/ 248 h 312"/>
                <a:gd name="T64" fmla="*/ 345 w 581"/>
                <a:gd name="T65" fmla="*/ 272 h 312"/>
                <a:gd name="T66" fmla="*/ 430 w 581"/>
                <a:gd name="T67" fmla="*/ 272 h 312"/>
                <a:gd name="T68" fmla="*/ 430 w 581"/>
                <a:gd name="T69" fmla="*/ 280 h 312"/>
                <a:gd name="T70" fmla="*/ 455 w 581"/>
                <a:gd name="T71" fmla="*/ 248 h 312"/>
                <a:gd name="T72" fmla="*/ 497 w 581"/>
                <a:gd name="T73" fmla="*/ 248 h 31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81" h="312">
                  <a:moveTo>
                    <a:pt x="497" y="248"/>
                  </a:moveTo>
                  <a:lnTo>
                    <a:pt x="531" y="200"/>
                  </a:lnTo>
                  <a:lnTo>
                    <a:pt x="556" y="176"/>
                  </a:lnTo>
                  <a:lnTo>
                    <a:pt x="581" y="152"/>
                  </a:lnTo>
                  <a:lnTo>
                    <a:pt x="564" y="120"/>
                  </a:lnTo>
                  <a:lnTo>
                    <a:pt x="522" y="112"/>
                  </a:lnTo>
                  <a:lnTo>
                    <a:pt x="480" y="104"/>
                  </a:lnTo>
                  <a:lnTo>
                    <a:pt x="463" y="80"/>
                  </a:lnTo>
                  <a:lnTo>
                    <a:pt x="413" y="64"/>
                  </a:lnTo>
                  <a:lnTo>
                    <a:pt x="413" y="88"/>
                  </a:lnTo>
                  <a:lnTo>
                    <a:pt x="387" y="104"/>
                  </a:lnTo>
                  <a:lnTo>
                    <a:pt x="345" y="72"/>
                  </a:lnTo>
                  <a:lnTo>
                    <a:pt x="354" y="40"/>
                  </a:lnTo>
                  <a:lnTo>
                    <a:pt x="312" y="40"/>
                  </a:lnTo>
                  <a:lnTo>
                    <a:pt x="269" y="24"/>
                  </a:lnTo>
                  <a:lnTo>
                    <a:pt x="227" y="0"/>
                  </a:lnTo>
                  <a:lnTo>
                    <a:pt x="227" y="24"/>
                  </a:lnTo>
                  <a:lnTo>
                    <a:pt x="202" y="8"/>
                  </a:lnTo>
                  <a:lnTo>
                    <a:pt x="168" y="8"/>
                  </a:lnTo>
                  <a:lnTo>
                    <a:pt x="160" y="40"/>
                  </a:lnTo>
                  <a:lnTo>
                    <a:pt x="118" y="56"/>
                  </a:lnTo>
                  <a:lnTo>
                    <a:pt x="76" y="80"/>
                  </a:lnTo>
                  <a:lnTo>
                    <a:pt x="34" y="88"/>
                  </a:lnTo>
                  <a:lnTo>
                    <a:pt x="0" y="112"/>
                  </a:lnTo>
                  <a:lnTo>
                    <a:pt x="34" y="152"/>
                  </a:lnTo>
                  <a:lnTo>
                    <a:pt x="25" y="176"/>
                  </a:lnTo>
                  <a:lnTo>
                    <a:pt x="84" y="224"/>
                  </a:lnTo>
                  <a:lnTo>
                    <a:pt x="160" y="280"/>
                  </a:lnTo>
                  <a:lnTo>
                    <a:pt x="152" y="288"/>
                  </a:lnTo>
                  <a:lnTo>
                    <a:pt x="194" y="312"/>
                  </a:lnTo>
                  <a:lnTo>
                    <a:pt x="244" y="296"/>
                  </a:lnTo>
                  <a:lnTo>
                    <a:pt x="269" y="248"/>
                  </a:lnTo>
                  <a:lnTo>
                    <a:pt x="345" y="272"/>
                  </a:lnTo>
                  <a:lnTo>
                    <a:pt x="430" y="272"/>
                  </a:lnTo>
                  <a:lnTo>
                    <a:pt x="430" y="280"/>
                  </a:lnTo>
                  <a:lnTo>
                    <a:pt x="455" y="248"/>
                  </a:lnTo>
                  <a:lnTo>
                    <a:pt x="497" y="2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95" name="Freeform 49"/>
            <p:cNvSpPr>
              <a:spLocks/>
            </p:cNvSpPr>
            <p:nvPr/>
          </p:nvSpPr>
          <p:spPr bwMode="auto">
            <a:xfrm>
              <a:off x="4098" y="3000"/>
              <a:ext cx="278" cy="200"/>
            </a:xfrm>
            <a:custGeom>
              <a:avLst/>
              <a:gdLst>
                <a:gd name="T0" fmla="*/ 50 w 278"/>
                <a:gd name="T1" fmla="*/ 192 h 200"/>
                <a:gd name="T2" fmla="*/ 92 w 278"/>
                <a:gd name="T3" fmla="*/ 160 h 200"/>
                <a:gd name="T4" fmla="*/ 117 w 278"/>
                <a:gd name="T5" fmla="*/ 176 h 200"/>
                <a:gd name="T6" fmla="*/ 151 w 278"/>
                <a:gd name="T7" fmla="*/ 184 h 200"/>
                <a:gd name="T8" fmla="*/ 168 w 278"/>
                <a:gd name="T9" fmla="*/ 152 h 200"/>
                <a:gd name="T10" fmla="*/ 202 w 278"/>
                <a:gd name="T11" fmla="*/ 144 h 200"/>
                <a:gd name="T12" fmla="*/ 202 w 278"/>
                <a:gd name="T13" fmla="*/ 104 h 200"/>
                <a:gd name="T14" fmla="*/ 235 w 278"/>
                <a:gd name="T15" fmla="*/ 64 h 200"/>
                <a:gd name="T16" fmla="*/ 278 w 278"/>
                <a:gd name="T17" fmla="*/ 48 h 200"/>
                <a:gd name="T18" fmla="*/ 235 w 278"/>
                <a:gd name="T19" fmla="*/ 0 h 200"/>
                <a:gd name="T20" fmla="*/ 227 w 278"/>
                <a:gd name="T21" fmla="*/ 8 h 200"/>
                <a:gd name="T22" fmla="*/ 227 w 278"/>
                <a:gd name="T23" fmla="*/ 32 h 200"/>
                <a:gd name="T24" fmla="*/ 185 w 278"/>
                <a:gd name="T25" fmla="*/ 40 h 200"/>
                <a:gd name="T26" fmla="*/ 134 w 278"/>
                <a:gd name="T27" fmla="*/ 40 h 200"/>
                <a:gd name="T28" fmla="*/ 101 w 278"/>
                <a:gd name="T29" fmla="*/ 64 h 200"/>
                <a:gd name="T30" fmla="*/ 42 w 278"/>
                <a:gd name="T31" fmla="*/ 64 h 200"/>
                <a:gd name="T32" fmla="*/ 8 w 278"/>
                <a:gd name="T33" fmla="*/ 72 h 200"/>
                <a:gd name="T34" fmla="*/ 0 w 278"/>
                <a:gd name="T35" fmla="*/ 96 h 200"/>
                <a:gd name="T36" fmla="*/ 8 w 278"/>
                <a:gd name="T37" fmla="*/ 152 h 200"/>
                <a:gd name="T38" fmla="*/ 0 w 278"/>
                <a:gd name="T39" fmla="*/ 160 h 200"/>
                <a:gd name="T40" fmla="*/ 25 w 278"/>
                <a:gd name="T41" fmla="*/ 152 h 200"/>
                <a:gd name="T42" fmla="*/ 8 w 278"/>
                <a:gd name="T43" fmla="*/ 176 h 200"/>
                <a:gd name="T44" fmla="*/ 8 w 278"/>
                <a:gd name="T45" fmla="*/ 200 h 200"/>
                <a:gd name="T46" fmla="*/ 16 w 278"/>
                <a:gd name="T47" fmla="*/ 200 h 200"/>
                <a:gd name="T48" fmla="*/ 50 w 278"/>
                <a:gd name="T49" fmla="*/ 192 h 2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78" h="200">
                  <a:moveTo>
                    <a:pt x="50" y="192"/>
                  </a:moveTo>
                  <a:lnTo>
                    <a:pt x="92" y="160"/>
                  </a:lnTo>
                  <a:lnTo>
                    <a:pt x="117" y="176"/>
                  </a:lnTo>
                  <a:lnTo>
                    <a:pt x="151" y="184"/>
                  </a:lnTo>
                  <a:lnTo>
                    <a:pt x="168" y="152"/>
                  </a:lnTo>
                  <a:lnTo>
                    <a:pt x="202" y="144"/>
                  </a:lnTo>
                  <a:lnTo>
                    <a:pt x="202" y="104"/>
                  </a:lnTo>
                  <a:lnTo>
                    <a:pt x="235" y="64"/>
                  </a:lnTo>
                  <a:lnTo>
                    <a:pt x="278" y="48"/>
                  </a:lnTo>
                  <a:lnTo>
                    <a:pt x="235" y="0"/>
                  </a:lnTo>
                  <a:lnTo>
                    <a:pt x="227" y="8"/>
                  </a:lnTo>
                  <a:lnTo>
                    <a:pt x="227" y="32"/>
                  </a:lnTo>
                  <a:lnTo>
                    <a:pt x="185" y="40"/>
                  </a:lnTo>
                  <a:lnTo>
                    <a:pt x="134" y="40"/>
                  </a:lnTo>
                  <a:lnTo>
                    <a:pt x="101" y="64"/>
                  </a:lnTo>
                  <a:lnTo>
                    <a:pt x="42" y="64"/>
                  </a:lnTo>
                  <a:lnTo>
                    <a:pt x="8" y="72"/>
                  </a:lnTo>
                  <a:lnTo>
                    <a:pt x="0" y="96"/>
                  </a:lnTo>
                  <a:lnTo>
                    <a:pt x="8" y="152"/>
                  </a:lnTo>
                  <a:lnTo>
                    <a:pt x="0" y="160"/>
                  </a:lnTo>
                  <a:lnTo>
                    <a:pt x="25" y="152"/>
                  </a:lnTo>
                  <a:lnTo>
                    <a:pt x="8" y="176"/>
                  </a:lnTo>
                  <a:lnTo>
                    <a:pt x="8" y="200"/>
                  </a:lnTo>
                  <a:lnTo>
                    <a:pt x="16" y="200"/>
                  </a:lnTo>
                  <a:lnTo>
                    <a:pt x="50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96" name="Freeform 50"/>
            <p:cNvSpPr>
              <a:spLocks/>
            </p:cNvSpPr>
            <p:nvPr/>
          </p:nvSpPr>
          <p:spPr bwMode="auto">
            <a:xfrm>
              <a:off x="4106" y="3056"/>
              <a:ext cx="548" cy="416"/>
            </a:xfrm>
            <a:custGeom>
              <a:avLst/>
              <a:gdLst>
                <a:gd name="T0" fmla="*/ 388 w 548"/>
                <a:gd name="T1" fmla="*/ 360 h 416"/>
                <a:gd name="T2" fmla="*/ 379 w 548"/>
                <a:gd name="T3" fmla="*/ 344 h 416"/>
                <a:gd name="T4" fmla="*/ 345 w 548"/>
                <a:gd name="T5" fmla="*/ 328 h 416"/>
                <a:gd name="T6" fmla="*/ 320 w 548"/>
                <a:gd name="T7" fmla="*/ 296 h 416"/>
                <a:gd name="T8" fmla="*/ 270 w 548"/>
                <a:gd name="T9" fmla="*/ 264 h 416"/>
                <a:gd name="T10" fmla="*/ 236 w 548"/>
                <a:gd name="T11" fmla="*/ 216 h 416"/>
                <a:gd name="T12" fmla="*/ 202 w 548"/>
                <a:gd name="T13" fmla="*/ 200 h 416"/>
                <a:gd name="T14" fmla="*/ 219 w 548"/>
                <a:gd name="T15" fmla="*/ 152 h 416"/>
                <a:gd name="T16" fmla="*/ 236 w 548"/>
                <a:gd name="T17" fmla="*/ 152 h 416"/>
                <a:gd name="T18" fmla="*/ 270 w 548"/>
                <a:gd name="T19" fmla="*/ 168 h 416"/>
                <a:gd name="T20" fmla="*/ 278 w 548"/>
                <a:gd name="T21" fmla="*/ 144 h 416"/>
                <a:gd name="T22" fmla="*/ 312 w 548"/>
                <a:gd name="T23" fmla="*/ 136 h 416"/>
                <a:gd name="T24" fmla="*/ 354 w 548"/>
                <a:gd name="T25" fmla="*/ 144 h 416"/>
                <a:gd name="T26" fmla="*/ 404 w 548"/>
                <a:gd name="T27" fmla="*/ 152 h 416"/>
                <a:gd name="T28" fmla="*/ 438 w 548"/>
                <a:gd name="T29" fmla="*/ 144 h 416"/>
                <a:gd name="T30" fmla="*/ 472 w 548"/>
                <a:gd name="T31" fmla="*/ 152 h 416"/>
                <a:gd name="T32" fmla="*/ 522 w 548"/>
                <a:gd name="T33" fmla="*/ 160 h 416"/>
                <a:gd name="T34" fmla="*/ 522 w 548"/>
                <a:gd name="T35" fmla="*/ 128 h 416"/>
                <a:gd name="T36" fmla="*/ 548 w 548"/>
                <a:gd name="T37" fmla="*/ 120 h 416"/>
                <a:gd name="T38" fmla="*/ 522 w 548"/>
                <a:gd name="T39" fmla="*/ 112 h 416"/>
                <a:gd name="T40" fmla="*/ 497 w 548"/>
                <a:gd name="T41" fmla="*/ 80 h 416"/>
                <a:gd name="T42" fmla="*/ 480 w 548"/>
                <a:gd name="T43" fmla="*/ 48 h 416"/>
                <a:gd name="T44" fmla="*/ 421 w 548"/>
                <a:gd name="T45" fmla="*/ 72 h 416"/>
                <a:gd name="T46" fmla="*/ 388 w 548"/>
                <a:gd name="T47" fmla="*/ 72 h 416"/>
                <a:gd name="T48" fmla="*/ 379 w 548"/>
                <a:gd name="T49" fmla="*/ 48 h 416"/>
                <a:gd name="T50" fmla="*/ 345 w 548"/>
                <a:gd name="T51" fmla="*/ 56 h 416"/>
                <a:gd name="T52" fmla="*/ 320 w 548"/>
                <a:gd name="T53" fmla="*/ 40 h 416"/>
                <a:gd name="T54" fmla="*/ 295 w 548"/>
                <a:gd name="T55" fmla="*/ 16 h 416"/>
                <a:gd name="T56" fmla="*/ 261 w 548"/>
                <a:gd name="T57" fmla="*/ 0 h 416"/>
                <a:gd name="T58" fmla="*/ 227 w 548"/>
                <a:gd name="T59" fmla="*/ 8 h 416"/>
                <a:gd name="T60" fmla="*/ 194 w 548"/>
                <a:gd name="T61" fmla="*/ 48 h 416"/>
                <a:gd name="T62" fmla="*/ 194 w 548"/>
                <a:gd name="T63" fmla="*/ 88 h 416"/>
                <a:gd name="T64" fmla="*/ 160 w 548"/>
                <a:gd name="T65" fmla="*/ 96 h 416"/>
                <a:gd name="T66" fmla="*/ 143 w 548"/>
                <a:gd name="T67" fmla="*/ 128 h 416"/>
                <a:gd name="T68" fmla="*/ 109 w 548"/>
                <a:gd name="T69" fmla="*/ 120 h 416"/>
                <a:gd name="T70" fmla="*/ 84 w 548"/>
                <a:gd name="T71" fmla="*/ 104 h 416"/>
                <a:gd name="T72" fmla="*/ 42 w 548"/>
                <a:gd name="T73" fmla="*/ 136 h 416"/>
                <a:gd name="T74" fmla="*/ 8 w 548"/>
                <a:gd name="T75" fmla="*/ 144 h 416"/>
                <a:gd name="T76" fmla="*/ 0 w 548"/>
                <a:gd name="T77" fmla="*/ 144 h 416"/>
                <a:gd name="T78" fmla="*/ 0 w 548"/>
                <a:gd name="T79" fmla="*/ 152 h 416"/>
                <a:gd name="T80" fmla="*/ 34 w 548"/>
                <a:gd name="T81" fmla="*/ 216 h 416"/>
                <a:gd name="T82" fmla="*/ 84 w 548"/>
                <a:gd name="T83" fmla="*/ 152 h 416"/>
                <a:gd name="T84" fmla="*/ 84 w 548"/>
                <a:gd name="T85" fmla="*/ 216 h 416"/>
                <a:gd name="T86" fmla="*/ 126 w 548"/>
                <a:gd name="T87" fmla="*/ 192 h 416"/>
                <a:gd name="T88" fmla="*/ 126 w 548"/>
                <a:gd name="T89" fmla="*/ 240 h 416"/>
                <a:gd name="T90" fmla="*/ 177 w 548"/>
                <a:gd name="T91" fmla="*/ 264 h 416"/>
                <a:gd name="T92" fmla="*/ 160 w 548"/>
                <a:gd name="T93" fmla="*/ 272 h 416"/>
                <a:gd name="T94" fmla="*/ 219 w 548"/>
                <a:gd name="T95" fmla="*/ 312 h 416"/>
                <a:gd name="T96" fmla="*/ 227 w 548"/>
                <a:gd name="T97" fmla="*/ 336 h 416"/>
                <a:gd name="T98" fmla="*/ 253 w 548"/>
                <a:gd name="T99" fmla="*/ 352 h 416"/>
                <a:gd name="T100" fmla="*/ 312 w 548"/>
                <a:gd name="T101" fmla="*/ 360 h 416"/>
                <a:gd name="T102" fmla="*/ 371 w 548"/>
                <a:gd name="T103" fmla="*/ 384 h 416"/>
                <a:gd name="T104" fmla="*/ 312 w 548"/>
                <a:gd name="T105" fmla="*/ 392 h 416"/>
                <a:gd name="T106" fmla="*/ 413 w 548"/>
                <a:gd name="T107" fmla="*/ 416 h 416"/>
                <a:gd name="T108" fmla="*/ 413 w 548"/>
                <a:gd name="T109" fmla="*/ 384 h 416"/>
                <a:gd name="T110" fmla="*/ 388 w 548"/>
                <a:gd name="T111" fmla="*/ 360 h 41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48" h="416">
                  <a:moveTo>
                    <a:pt x="388" y="360"/>
                  </a:moveTo>
                  <a:lnTo>
                    <a:pt x="379" y="344"/>
                  </a:lnTo>
                  <a:lnTo>
                    <a:pt x="345" y="328"/>
                  </a:lnTo>
                  <a:lnTo>
                    <a:pt x="320" y="296"/>
                  </a:lnTo>
                  <a:lnTo>
                    <a:pt x="270" y="264"/>
                  </a:lnTo>
                  <a:lnTo>
                    <a:pt x="236" y="216"/>
                  </a:lnTo>
                  <a:lnTo>
                    <a:pt x="202" y="200"/>
                  </a:lnTo>
                  <a:lnTo>
                    <a:pt x="219" y="152"/>
                  </a:lnTo>
                  <a:lnTo>
                    <a:pt x="236" y="152"/>
                  </a:lnTo>
                  <a:lnTo>
                    <a:pt x="270" y="168"/>
                  </a:lnTo>
                  <a:lnTo>
                    <a:pt x="278" y="144"/>
                  </a:lnTo>
                  <a:lnTo>
                    <a:pt x="312" y="136"/>
                  </a:lnTo>
                  <a:lnTo>
                    <a:pt x="354" y="144"/>
                  </a:lnTo>
                  <a:lnTo>
                    <a:pt x="404" y="152"/>
                  </a:lnTo>
                  <a:lnTo>
                    <a:pt x="438" y="144"/>
                  </a:lnTo>
                  <a:lnTo>
                    <a:pt x="472" y="152"/>
                  </a:lnTo>
                  <a:lnTo>
                    <a:pt x="522" y="160"/>
                  </a:lnTo>
                  <a:lnTo>
                    <a:pt x="522" y="128"/>
                  </a:lnTo>
                  <a:lnTo>
                    <a:pt x="548" y="120"/>
                  </a:lnTo>
                  <a:lnTo>
                    <a:pt x="522" y="112"/>
                  </a:lnTo>
                  <a:lnTo>
                    <a:pt x="497" y="80"/>
                  </a:lnTo>
                  <a:lnTo>
                    <a:pt x="480" y="48"/>
                  </a:lnTo>
                  <a:lnTo>
                    <a:pt x="421" y="72"/>
                  </a:lnTo>
                  <a:lnTo>
                    <a:pt x="388" y="72"/>
                  </a:lnTo>
                  <a:lnTo>
                    <a:pt x="379" y="48"/>
                  </a:lnTo>
                  <a:lnTo>
                    <a:pt x="345" y="56"/>
                  </a:lnTo>
                  <a:lnTo>
                    <a:pt x="320" y="40"/>
                  </a:lnTo>
                  <a:lnTo>
                    <a:pt x="295" y="16"/>
                  </a:lnTo>
                  <a:lnTo>
                    <a:pt x="261" y="0"/>
                  </a:lnTo>
                  <a:lnTo>
                    <a:pt x="227" y="8"/>
                  </a:lnTo>
                  <a:lnTo>
                    <a:pt x="194" y="48"/>
                  </a:lnTo>
                  <a:lnTo>
                    <a:pt x="194" y="88"/>
                  </a:lnTo>
                  <a:lnTo>
                    <a:pt x="160" y="96"/>
                  </a:lnTo>
                  <a:lnTo>
                    <a:pt x="143" y="128"/>
                  </a:lnTo>
                  <a:lnTo>
                    <a:pt x="109" y="120"/>
                  </a:lnTo>
                  <a:lnTo>
                    <a:pt x="84" y="104"/>
                  </a:lnTo>
                  <a:lnTo>
                    <a:pt x="42" y="136"/>
                  </a:lnTo>
                  <a:lnTo>
                    <a:pt x="8" y="144"/>
                  </a:lnTo>
                  <a:lnTo>
                    <a:pt x="0" y="144"/>
                  </a:lnTo>
                  <a:lnTo>
                    <a:pt x="0" y="152"/>
                  </a:lnTo>
                  <a:lnTo>
                    <a:pt x="34" y="216"/>
                  </a:lnTo>
                  <a:lnTo>
                    <a:pt x="84" y="152"/>
                  </a:lnTo>
                  <a:lnTo>
                    <a:pt x="84" y="216"/>
                  </a:lnTo>
                  <a:lnTo>
                    <a:pt x="126" y="192"/>
                  </a:lnTo>
                  <a:lnTo>
                    <a:pt x="126" y="240"/>
                  </a:lnTo>
                  <a:lnTo>
                    <a:pt x="177" y="264"/>
                  </a:lnTo>
                  <a:lnTo>
                    <a:pt x="160" y="272"/>
                  </a:lnTo>
                  <a:lnTo>
                    <a:pt x="219" y="312"/>
                  </a:lnTo>
                  <a:lnTo>
                    <a:pt x="227" y="336"/>
                  </a:lnTo>
                  <a:lnTo>
                    <a:pt x="253" y="352"/>
                  </a:lnTo>
                  <a:lnTo>
                    <a:pt x="312" y="360"/>
                  </a:lnTo>
                  <a:lnTo>
                    <a:pt x="371" y="384"/>
                  </a:lnTo>
                  <a:lnTo>
                    <a:pt x="312" y="392"/>
                  </a:lnTo>
                  <a:lnTo>
                    <a:pt x="413" y="416"/>
                  </a:lnTo>
                  <a:lnTo>
                    <a:pt x="413" y="384"/>
                  </a:lnTo>
                  <a:lnTo>
                    <a:pt x="388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97" name="Freeform 51"/>
            <p:cNvSpPr>
              <a:spLocks/>
            </p:cNvSpPr>
            <p:nvPr/>
          </p:nvSpPr>
          <p:spPr bwMode="auto">
            <a:xfrm>
              <a:off x="4098" y="3000"/>
              <a:ext cx="278" cy="200"/>
            </a:xfrm>
            <a:custGeom>
              <a:avLst/>
              <a:gdLst>
                <a:gd name="T0" fmla="*/ 50 w 278"/>
                <a:gd name="T1" fmla="*/ 192 h 200"/>
                <a:gd name="T2" fmla="*/ 92 w 278"/>
                <a:gd name="T3" fmla="*/ 160 h 200"/>
                <a:gd name="T4" fmla="*/ 117 w 278"/>
                <a:gd name="T5" fmla="*/ 176 h 200"/>
                <a:gd name="T6" fmla="*/ 151 w 278"/>
                <a:gd name="T7" fmla="*/ 184 h 200"/>
                <a:gd name="T8" fmla="*/ 168 w 278"/>
                <a:gd name="T9" fmla="*/ 152 h 200"/>
                <a:gd name="T10" fmla="*/ 202 w 278"/>
                <a:gd name="T11" fmla="*/ 144 h 200"/>
                <a:gd name="T12" fmla="*/ 202 w 278"/>
                <a:gd name="T13" fmla="*/ 104 h 200"/>
                <a:gd name="T14" fmla="*/ 235 w 278"/>
                <a:gd name="T15" fmla="*/ 64 h 200"/>
                <a:gd name="T16" fmla="*/ 278 w 278"/>
                <a:gd name="T17" fmla="*/ 48 h 200"/>
                <a:gd name="T18" fmla="*/ 235 w 278"/>
                <a:gd name="T19" fmla="*/ 0 h 200"/>
                <a:gd name="T20" fmla="*/ 227 w 278"/>
                <a:gd name="T21" fmla="*/ 8 h 200"/>
                <a:gd name="T22" fmla="*/ 227 w 278"/>
                <a:gd name="T23" fmla="*/ 32 h 200"/>
                <a:gd name="T24" fmla="*/ 185 w 278"/>
                <a:gd name="T25" fmla="*/ 40 h 200"/>
                <a:gd name="T26" fmla="*/ 134 w 278"/>
                <a:gd name="T27" fmla="*/ 40 h 200"/>
                <a:gd name="T28" fmla="*/ 101 w 278"/>
                <a:gd name="T29" fmla="*/ 64 h 200"/>
                <a:gd name="T30" fmla="*/ 42 w 278"/>
                <a:gd name="T31" fmla="*/ 64 h 200"/>
                <a:gd name="T32" fmla="*/ 8 w 278"/>
                <a:gd name="T33" fmla="*/ 72 h 200"/>
                <a:gd name="T34" fmla="*/ 0 w 278"/>
                <a:gd name="T35" fmla="*/ 96 h 200"/>
                <a:gd name="T36" fmla="*/ 8 w 278"/>
                <a:gd name="T37" fmla="*/ 152 h 200"/>
                <a:gd name="T38" fmla="*/ 0 w 278"/>
                <a:gd name="T39" fmla="*/ 160 h 200"/>
                <a:gd name="T40" fmla="*/ 25 w 278"/>
                <a:gd name="T41" fmla="*/ 152 h 200"/>
                <a:gd name="T42" fmla="*/ 8 w 278"/>
                <a:gd name="T43" fmla="*/ 176 h 200"/>
                <a:gd name="T44" fmla="*/ 8 w 278"/>
                <a:gd name="T45" fmla="*/ 200 h 200"/>
                <a:gd name="T46" fmla="*/ 16 w 278"/>
                <a:gd name="T47" fmla="*/ 200 h 200"/>
                <a:gd name="T48" fmla="*/ 50 w 278"/>
                <a:gd name="T49" fmla="*/ 192 h 2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78" h="200">
                  <a:moveTo>
                    <a:pt x="50" y="192"/>
                  </a:moveTo>
                  <a:lnTo>
                    <a:pt x="92" y="160"/>
                  </a:lnTo>
                  <a:lnTo>
                    <a:pt x="117" y="176"/>
                  </a:lnTo>
                  <a:lnTo>
                    <a:pt x="151" y="184"/>
                  </a:lnTo>
                  <a:lnTo>
                    <a:pt x="168" y="152"/>
                  </a:lnTo>
                  <a:lnTo>
                    <a:pt x="202" y="144"/>
                  </a:lnTo>
                  <a:lnTo>
                    <a:pt x="202" y="104"/>
                  </a:lnTo>
                  <a:lnTo>
                    <a:pt x="235" y="64"/>
                  </a:lnTo>
                  <a:lnTo>
                    <a:pt x="278" y="48"/>
                  </a:lnTo>
                  <a:lnTo>
                    <a:pt x="235" y="0"/>
                  </a:lnTo>
                  <a:lnTo>
                    <a:pt x="227" y="8"/>
                  </a:lnTo>
                  <a:lnTo>
                    <a:pt x="227" y="32"/>
                  </a:lnTo>
                  <a:lnTo>
                    <a:pt x="185" y="40"/>
                  </a:lnTo>
                  <a:lnTo>
                    <a:pt x="134" y="40"/>
                  </a:lnTo>
                  <a:lnTo>
                    <a:pt x="101" y="64"/>
                  </a:lnTo>
                  <a:lnTo>
                    <a:pt x="42" y="64"/>
                  </a:lnTo>
                  <a:lnTo>
                    <a:pt x="8" y="72"/>
                  </a:lnTo>
                  <a:lnTo>
                    <a:pt x="0" y="96"/>
                  </a:lnTo>
                  <a:lnTo>
                    <a:pt x="8" y="152"/>
                  </a:lnTo>
                  <a:lnTo>
                    <a:pt x="0" y="160"/>
                  </a:lnTo>
                  <a:lnTo>
                    <a:pt x="25" y="152"/>
                  </a:lnTo>
                  <a:lnTo>
                    <a:pt x="8" y="176"/>
                  </a:lnTo>
                  <a:lnTo>
                    <a:pt x="8" y="200"/>
                  </a:lnTo>
                  <a:lnTo>
                    <a:pt x="16" y="200"/>
                  </a:lnTo>
                  <a:lnTo>
                    <a:pt x="50" y="19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98" name="Freeform 52"/>
            <p:cNvSpPr>
              <a:spLocks/>
            </p:cNvSpPr>
            <p:nvPr/>
          </p:nvSpPr>
          <p:spPr bwMode="auto">
            <a:xfrm>
              <a:off x="4106" y="3056"/>
              <a:ext cx="548" cy="416"/>
            </a:xfrm>
            <a:custGeom>
              <a:avLst/>
              <a:gdLst>
                <a:gd name="T0" fmla="*/ 388 w 548"/>
                <a:gd name="T1" fmla="*/ 360 h 416"/>
                <a:gd name="T2" fmla="*/ 379 w 548"/>
                <a:gd name="T3" fmla="*/ 344 h 416"/>
                <a:gd name="T4" fmla="*/ 345 w 548"/>
                <a:gd name="T5" fmla="*/ 328 h 416"/>
                <a:gd name="T6" fmla="*/ 320 w 548"/>
                <a:gd name="T7" fmla="*/ 296 h 416"/>
                <a:gd name="T8" fmla="*/ 270 w 548"/>
                <a:gd name="T9" fmla="*/ 264 h 416"/>
                <a:gd name="T10" fmla="*/ 236 w 548"/>
                <a:gd name="T11" fmla="*/ 216 h 416"/>
                <a:gd name="T12" fmla="*/ 202 w 548"/>
                <a:gd name="T13" fmla="*/ 200 h 416"/>
                <a:gd name="T14" fmla="*/ 219 w 548"/>
                <a:gd name="T15" fmla="*/ 152 h 416"/>
                <a:gd name="T16" fmla="*/ 236 w 548"/>
                <a:gd name="T17" fmla="*/ 152 h 416"/>
                <a:gd name="T18" fmla="*/ 270 w 548"/>
                <a:gd name="T19" fmla="*/ 168 h 416"/>
                <a:gd name="T20" fmla="*/ 278 w 548"/>
                <a:gd name="T21" fmla="*/ 144 h 416"/>
                <a:gd name="T22" fmla="*/ 312 w 548"/>
                <a:gd name="T23" fmla="*/ 136 h 416"/>
                <a:gd name="T24" fmla="*/ 354 w 548"/>
                <a:gd name="T25" fmla="*/ 144 h 416"/>
                <a:gd name="T26" fmla="*/ 404 w 548"/>
                <a:gd name="T27" fmla="*/ 152 h 416"/>
                <a:gd name="T28" fmla="*/ 438 w 548"/>
                <a:gd name="T29" fmla="*/ 144 h 416"/>
                <a:gd name="T30" fmla="*/ 472 w 548"/>
                <a:gd name="T31" fmla="*/ 152 h 416"/>
                <a:gd name="T32" fmla="*/ 522 w 548"/>
                <a:gd name="T33" fmla="*/ 160 h 416"/>
                <a:gd name="T34" fmla="*/ 522 w 548"/>
                <a:gd name="T35" fmla="*/ 128 h 416"/>
                <a:gd name="T36" fmla="*/ 548 w 548"/>
                <a:gd name="T37" fmla="*/ 120 h 416"/>
                <a:gd name="T38" fmla="*/ 522 w 548"/>
                <a:gd name="T39" fmla="*/ 112 h 416"/>
                <a:gd name="T40" fmla="*/ 497 w 548"/>
                <a:gd name="T41" fmla="*/ 80 h 416"/>
                <a:gd name="T42" fmla="*/ 480 w 548"/>
                <a:gd name="T43" fmla="*/ 48 h 416"/>
                <a:gd name="T44" fmla="*/ 421 w 548"/>
                <a:gd name="T45" fmla="*/ 72 h 416"/>
                <a:gd name="T46" fmla="*/ 388 w 548"/>
                <a:gd name="T47" fmla="*/ 72 h 416"/>
                <a:gd name="T48" fmla="*/ 379 w 548"/>
                <a:gd name="T49" fmla="*/ 48 h 416"/>
                <a:gd name="T50" fmla="*/ 345 w 548"/>
                <a:gd name="T51" fmla="*/ 56 h 416"/>
                <a:gd name="T52" fmla="*/ 320 w 548"/>
                <a:gd name="T53" fmla="*/ 40 h 416"/>
                <a:gd name="T54" fmla="*/ 295 w 548"/>
                <a:gd name="T55" fmla="*/ 16 h 416"/>
                <a:gd name="T56" fmla="*/ 261 w 548"/>
                <a:gd name="T57" fmla="*/ 0 h 416"/>
                <a:gd name="T58" fmla="*/ 227 w 548"/>
                <a:gd name="T59" fmla="*/ 8 h 416"/>
                <a:gd name="T60" fmla="*/ 194 w 548"/>
                <a:gd name="T61" fmla="*/ 48 h 416"/>
                <a:gd name="T62" fmla="*/ 194 w 548"/>
                <a:gd name="T63" fmla="*/ 88 h 416"/>
                <a:gd name="T64" fmla="*/ 160 w 548"/>
                <a:gd name="T65" fmla="*/ 96 h 416"/>
                <a:gd name="T66" fmla="*/ 143 w 548"/>
                <a:gd name="T67" fmla="*/ 128 h 416"/>
                <a:gd name="T68" fmla="*/ 109 w 548"/>
                <a:gd name="T69" fmla="*/ 120 h 416"/>
                <a:gd name="T70" fmla="*/ 84 w 548"/>
                <a:gd name="T71" fmla="*/ 104 h 416"/>
                <a:gd name="T72" fmla="*/ 42 w 548"/>
                <a:gd name="T73" fmla="*/ 136 h 416"/>
                <a:gd name="T74" fmla="*/ 8 w 548"/>
                <a:gd name="T75" fmla="*/ 144 h 416"/>
                <a:gd name="T76" fmla="*/ 0 w 548"/>
                <a:gd name="T77" fmla="*/ 144 h 416"/>
                <a:gd name="T78" fmla="*/ 0 w 548"/>
                <a:gd name="T79" fmla="*/ 152 h 416"/>
                <a:gd name="T80" fmla="*/ 34 w 548"/>
                <a:gd name="T81" fmla="*/ 216 h 416"/>
                <a:gd name="T82" fmla="*/ 84 w 548"/>
                <a:gd name="T83" fmla="*/ 152 h 416"/>
                <a:gd name="T84" fmla="*/ 84 w 548"/>
                <a:gd name="T85" fmla="*/ 216 h 416"/>
                <a:gd name="T86" fmla="*/ 126 w 548"/>
                <a:gd name="T87" fmla="*/ 192 h 416"/>
                <a:gd name="T88" fmla="*/ 126 w 548"/>
                <a:gd name="T89" fmla="*/ 240 h 416"/>
                <a:gd name="T90" fmla="*/ 177 w 548"/>
                <a:gd name="T91" fmla="*/ 264 h 416"/>
                <a:gd name="T92" fmla="*/ 160 w 548"/>
                <a:gd name="T93" fmla="*/ 272 h 416"/>
                <a:gd name="T94" fmla="*/ 219 w 548"/>
                <a:gd name="T95" fmla="*/ 312 h 416"/>
                <a:gd name="T96" fmla="*/ 227 w 548"/>
                <a:gd name="T97" fmla="*/ 336 h 416"/>
                <a:gd name="T98" fmla="*/ 253 w 548"/>
                <a:gd name="T99" fmla="*/ 352 h 416"/>
                <a:gd name="T100" fmla="*/ 312 w 548"/>
                <a:gd name="T101" fmla="*/ 360 h 416"/>
                <a:gd name="T102" fmla="*/ 371 w 548"/>
                <a:gd name="T103" fmla="*/ 384 h 416"/>
                <a:gd name="T104" fmla="*/ 312 w 548"/>
                <a:gd name="T105" fmla="*/ 392 h 416"/>
                <a:gd name="T106" fmla="*/ 413 w 548"/>
                <a:gd name="T107" fmla="*/ 416 h 416"/>
                <a:gd name="T108" fmla="*/ 413 w 548"/>
                <a:gd name="T109" fmla="*/ 384 h 416"/>
                <a:gd name="T110" fmla="*/ 388 w 548"/>
                <a:gd name="T111" fmla="*/ 360 h 41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48" h="416">
                  <a:moveTo>
                    <a:pt x="388" y="360"/>
                  </a:moveTo>
                  <a:lnTo>
                    <a:pt x="379" y="344"/>
                  </a:lnTo>
                  <a:lnTo>
                    <a:pt x="345" y="328"/>
                  </a:lnTo>
                  <a:lnTo>
                    <a:pt x="320" y="296"/>
                  </a:lnTo>
                  <a:lnTo>
                    <a:pt x="270" y="264"/>
                  </a:lnTo>
                  <a:lnTo>
                    <a:pt x="236" y="216"/>
                  </a:lnTo>
                  <a:lnTo>
                    <a:pt x="202" y="200"/>
                  </a:lnTo>
                  <a:lnTo>
                    <a:pt x="219" y="152"/>
                  </a:lnTo>
                  <a:lnTo>
                    <a:pt x="236" y="152"/>
                  </a:lnTo>
                  <a:lnTo>
                    <a:pt x="270" y="168"/>
                  </a:lnTo>
                  <a:lnTo>
                    <a:pt x="278" y="144"/>
                  </a:lnTo>
                  <a:lnTo>
                    <a:pt x="312" y="136"/>
                  </a:lnTo>
                  <a:lnTo>
                    <a:pt x="354" y="144"/>
                  </a:lnTo>
                  <a:lnTo>
                    <a:pt x="404" y="152"/>
                  </a:lnTo>
                  <a:lnTo>
                    <a:pt x="438" y="144"/>
                  </a:lnTo>
                  <a:lnTo>
                    <a:pt x="472" y="152"/>
                  </a:lnTo>
                  <a:lnTo>
                    <a:pt x="522" y="160"/>
                  </a:lnTo>
                  <a:lnTo>
                    <a:pt x="522" y="128"/>
                  </a:lnTo>
                  <a:lnTo>
                    <a:pt x="548" y="120"/>
                  </a:lnTo>
                  <a:lnTo>
                    <a:pt x="522" y="112"/>
                  </a:lnTo>
                  <a:lnTo>
                    <a:pt x="497" y="80"/>
                  </a:lnTo>
                  <a:lnTo>
                    <a:pt x="480" y="48"/>
                  </a:lnTo>
                  <a:lnTo>
                    <a:pt x="421" y="72"/>
                  </a:lnTo>
                  <a:lnTo>
                    <a:pt x="388" y="72"/>
                  </a:lnTo>
                  <a:lnTo>
                    <a:pt x="379" y="48"/>
                  </a:lnTo>
                  <a:lnTo>
                    <a:pt x="345" y="56"/>
                  </a:lnTo>
                  <a:lnTo>
                    <a:pt x="320" y="40"/>
                  </a:lnTo>
                  <a:lnTo>
                    <a:pt x="295" y="16"/>
                  </a:lnTo>
                  <a:lnTo>
                    <a:pt x="261" y="0"/>
                  </a:lnTo>
                  <a:lnTo>
                    <a:pt x="227" y="8"/>
                  </a:lnTo>
                  <a:lnTo>
                    <a:pt x="194" y="48"/>
                  </a:lnTo>
                  <a:lnTo>
                    <a:pt x="194" y="88"/>
                  </a:lnTo>
                  <a:lnTo>
                    <a:pt x="160" y="96"/>
                  </a:lnTo>
                  <a:lnTo>
                    <a:pt x="143" y="128"/>
                  </a:lnTo>
                  <a:lnTo>
                    <a:pt x="109" y="120"/>
                  </a:lnTo>
                  <a:lnTo>
                    <a:pt x="84" y="104"/>
                  </a:lnTo>
                  <a:lnTo>
                    <a:pt x="42" y="136"/>
                  </a:lnTo>
                  <a:lnTo>
                    <a:pt x="8" y="144"/>
                  </a:lnTo>
                  <a:lnTo>
                    <a:pt x="0" y="144"/>
                  </a:lnTo>
                  <a:lnTo>
                    <a:pt x="0" y="152"/>
                  </a:lnTo>
                  <a:lnTo>
                    <a:pt x="34" y="216"/>
                  </a:lnTo>
                  <a:lnTo>
                    <a:pt x="84" y="152"/>
                  </a:lnTo>
                  <a:lnTo>
                    <a:pt x="84" y="216"/>
                  </a:lnTo>
                  <a:lnTo>
                    <a:pt x="126" y="192"/>
                  </a:lnTo>
                  <a:lnTo>
                    <a:pt x="126" y="240"/>
                  </a:lnTo>
                  <a:lnTo>
                    <a:pt x="177" y="264"/>
                  </a:lnTo>
                  <a:lnTo>
                    <a:pt x="160" y="272"/>
                  </a:lnTo>
                  <a:lnTo>
                    <a:pt x="219" y="312"/>
                  </a:lnTo>
                  <a:lnTo>
                    <a:pt x="227" y="336"/>
                  </a:lnTo>
                  <a:lnTo>
                    <a:pt x="253" y="352"/>
                  </a:lnTo>
                  <a:lnTo>
                    <a:pt x="312" y="360"/>
                  </a:lnTo>
                  <a:lnTo>
                    <a:pt x="371" y="384"/>
                  </a:lnTo>
                  <a:lnTo>
                    <a:pt x="312" y="392"/>
                  </a:lnTo>
                  <a:lnTo>
                    <a:pt x="413" y="416"/>
                  </a:lnTo>
                  <a:lnTo>
                    <a:pt x="413" y="384"/>
                  </a:lnTo>
                  <a:lnTo>
                    <a:pt x="388" y="36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99" name="Freeform 53"/>
            <p:cNvSpPr>
              <a:spLocks/>
            </p:cNvSpPr>
            <p:nvPr/>
          </p:nvSpPr>
          <p:spPr bwMode="auto">
            <a:xfrm>
              <a:off x="4308" y="3192"/>
              <a:ext cx="388" cy="320"/>
            </a:xfrm>
            <a:custGeom>
              <a:avLst/>
              <a:gdLst>
                <a:gd name="T0" fmla="*/ 287 w 388"/>
                <a:gd name="T1" fmla="*/ 264 h 320"/>
                <a:gd name="T2" fmla="*/ 312 w 388"/>
                <a:gd name="T3" fmla="*/ 248 h 320"/>
                <a:gd name="T4" fmla="*/ 320 w 388"/>
                <a:gd name="T5" fmla="*/ 216 h 320"/>
                <a:gd name="T6" fmla="*/ 346 w 388"/>
                <a:gd name="T7" fmla="*/ 216 h 320"/>
                <a:gd name="T8" fmla="*/ 337 w 388"/>
                <a:gd name="T9" fmla="*/ 192 h 320"/>
                <a:gd name="T10" fmla="*/ 388 w 388"/>
                <a:gd name="T11" fmla="*/ 176 h 320"/>
                <a:gd name="T12" fmla="*/ 362 w 388"/>
                <a:gd name="T13" fmla="*/ 136 h 320"/>
                <a:gd name="T14" fmla="*/ 388 w 388"/>
                <a:gd name="T15" fmla="*/ 120 h 320"/>
                <a:gd name="T16" fmla="*/ 346 w 388"/>
                <a:gd name="T17" fmla="*/ 96 h 320"/>
                <a:gd name="T18" fmla="*/ 337 w 388"/>
                <a:gd name="T19" fmla="*/ 64 h 320"/>
                <a:gd name="T20" fmla="*/ 337 w 388"/>
                <a:gd name="T21" fmla="*/ 32 h 320"/>
                <a:gd name="T22" fmla="*/ 304 w 388"/>
                <a:gd name="T23" fmla="*/ 32 h 320"/>
                <a:gd name="T24" fmla="*/ 295 w 388"/>
                <a:gd name="T25" fmla="*/ 16 h 320"/>
                <a:gd name="T26" fmla="*/ 270 w 388"/>
                <a:gd name="T27" fmla="*/ 16 h 320"/>
                <a:gd name="T28" fmla="*/ 236 w 388"/>
                <a:gd name="T29" fmla="*/ 8 h 320"/>
                <a:gd name="T30" fmla="*/ 202 w 388"/>
                <a:gd name="T31" fmla="*/ 16 h 320"/>
                <a:gd name="T32" fmla="*/ 152 w 388"/>
                <a:gd name="T33" fmla="*/ 8 h 320"/>
                <a:gd name="T34" fmla="*/ 110 w 388"/>
                <a:gd name="T35" fmla="*/ 0 h 320"/>
                <a:gd name="T36" fmla="*/ 76 w 388"/>
                <a:gd name="T37" fmla="*/ 8 h 320"/>
                <a:gd name="T38" fmla="*/ 68 w 388"/>
                <a:gd name="T39" fmla="*/ 32 h 320"/>
                <a:gd name="T40" fmla="*/ 34 w 388"/>
                <a:gd name="T41" fmla="*/ 16 h 320"/>
                <a:gd name="T42" fmla="*/ 17 w 388"/>
                <a:gd name="T43" fmla="*/ 16 h 320"/>
                <a:gd name="T44" fmla="*/ 0 w 388"/>
                <a:gd name="T45" fmla="*/ 64 h 320"/>
                <a:gd name="T46" fmla="*/ 34 w 388"/>
                <a:gd name="T47" fmla="*/ 80 h 320"/>
                <a:gd name="T48" fmla="*/ 68 w 388"/>
                <a:gd name="T49" fmla="*/ 128 h 320"/>
                <a:gd name="T50" fmla="*/ 118 w 388"/>
                <a:gd name="T51" fmla="*/ 160 h 320"/>
                <a:gd name="T52" fmla="*/ 143 w 388"/>
                <a:gd name="T53" fmla="*/ 192 h 320"/>
                <a:gd name="T54" fmla="*/ 177 w 388"/>
                <a:gd name="T55" fmla="*/ 208 h 320"/>
                <a:gd name="T56" fmla="*/ 186 w 388"/>
                <a:gd name="T57" fmla="*/ 224 h 320"/>
                <a:gd name="T58" fmla="*/ 211 w 388"/>
                <a:gd name="T59" fmla="*/ 248 h 320"/>
                <a:gd name="T60" fmla="*/ 211 w 388"/>
                <a:gd name="T61" fmla="*/ 280 h 320"/>
                <a:gd name="T62" fmla="*/ 295 w 388"/>
                <a:gd name="T63" fmla="*/ 320 h 320"/>
                <a:gd name="T64" fmla="*/ 295 w 388"/>
                <a:gd name="T65" fmla="*/ 280 h 320"/>
                <a:gd name="T66" fmla="*/ 287 w 388"/>
                <a:gd name="T67" fmla="*/ 264 h 32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388" h="320">
                  <a:moveTo>
                    <a:pt x="287" y="264"/>
                  </a:moveTo>
                  <a:lnTo>
                    <a:pt x="312" y="248"/>
                  </a:lnTo>
                  <a:lnTo>
                    <a:pt x="320" y="216"/>
                  </a:lnTo>
                  <a:lnTo>
                    <a:pt x="346" y="216"/>
                  </a:lnTo>
                  <a:lnTo>
                    <a:pt x="337" y="192"/>
                  </a:lnTo>
                  <a:lnTo>
                    <a:pt x="388" y="176"/>
                  </a:lnTo>
                  <a:lnTo>
                    <a:pt x="362" y="136"/>
                  </a:lnTo>
                  <a:lnTo>
                    <a:pt x="388" y="120"/>
                  </a:lnTo>
                  <a:lnTo>
                    <a:pt x="346" y="96"/>
                  </a:lnTo>
                  <a:lnTo>
                    <a:pt x="337" y="64"/>
                  </a:lnTo>
                  <a:lnTo>
                    <a:pt x="337" y="32"/>
                  </a:lnTo>
                  <a:lnTo>
                    <a:pt x="304" y="32"/>
                  </a:lnTo>
                  <a:lnTo>
                    <a:pt x="295" y="16"/>
                  </a:lnTo>
                  <a:lnTo>
                    <a:pt x="270" y="16"/>
                  </a:lnTo>
                  <a:lnTo>
                    <a:pt x="236" y="8"/>
                  </a:lnTo>
                  <a:lnTo>
                    <a:pt x="202" y="16"/>
                  </a:lnTo>
                  <a:lnTo>
                    <a:pt x="152" y="8"/>
                  </a:lnTo>
                  <a:lnTo>
                    <a:pt x="110" y="0"/>
                  </a:lnTo>
                  <a:lnTo>
                    <a:pt x="76" y="8"/>
                  </a:lnTo>
                  <a:lnTo>
                    <a:pt x="68" y="32"/>
                  </a:lnTo>
                  <a:lnTo>
                    <a:pt x="34" y="16"/>
                  </a:lnTo>
                  <a:lnTo>
                    <a:pt x="17" y="16"/>
                  </a:lnTo>
                  <a:lnTo>
                    <a:pt x="0" y="64"/>
                  </a:lnTo>
                  <a:lnTo>
                    <a:pt x="34" y="80"/>
                  </a:lnTo>
                  <a:lnTo>
                    <a:pt x="68" y="128"/>
                  </a:lnTo>
                  <a:lnTo>
                    <a:pt x="118" y="160"/>
                  </a:lnTo>
                  <a:lnTo>
                    <a:pt x="143" y="192"/>
                  </a:lnTo>
                  <a:lnTo>
                    <a:pt x="177" y="208"/>
                  </a:lnTo>
                  <a:lnTo>
                    <a:pt x="186" y="224"/>
                  </a:lnTo>
                  <a:lnTo>
                    <a:pt x="211" y="248"/>
                  </a:lnTo>
                  <a:lnTo>
                    <a:pt x="211" y="280"/>
                  </a:lnTo>
                  <a:lnTo>
                    <a:pt x="295" y="320"/>
                  </a:lnTo>
                  <a:lnTo>
                    <a:pt x="295" y="280"/>
                  </a:lnTo>
                  <a:lnTo>
                    <a:pt x="287" y="2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00" name="Freeform 54"/>
            <p:cNvSpPr>
              <a:spLocks/>
            </p:cNvSpPr>
            <p:nvPr/>
          </p:nvSpPr>
          <p:spPr bwMode="auto">
            <a:xfrm>
              <a:off x="4333" y="2760"/>
              <a:ext cx="573" cy="368"/>
            </a:xfrm>
            <a:custGeom>
              <a:avLst/>
              <a:gdLst>
                <a:gd name="T0" fmla="*/ 295 w 573"/>
                <a:gd name="T1" fmla="*/ 320 h 368"/>
                <a:gd name="T2" fmla="*/ 329 w 573"/>
                <a:gd name="T3" fmla="*/ 304 h 368"/>
                <a:gd name="T4" fmla="*/ 380 w 573"/>
                <a:gd name="T5" fmla="*/ 304 h 368"/>
                <a:gd name="T6" fmla="*/ 413 w 573"/>
                <a:gd name="T7" fmla="*/ 288 h 368"/>
                <a:gd name="T8" fmla="*/ 439 w 573"/>
                <a:gd name="T9" fmla="*/ 272 h 368"/>
                <a:gd name="T10" fmla="*/ 455 w 573"/>
                <a:gd name="T11" fmla="*/ 264 h 368"/>
                <a:gd name="T12" fmla="*/ 464 w 573"/>
                <a:gd name="T13" fmla="*/ 224 h 368"/>
                <a:gd name="T14" fmla="*/ 472 w 573"/>
                <a:gd name="T15" fmla="*/ 200 h 368"/>
                <a:gd name="T16" fmla="*/ 498 w 573"/>
                <a:gd name="T17" fmla="*/ 168 h 368"/>
                <a:gd name="T18" fmla="*/ 523 w 573"/>
                <a:gd name="T19" fmla="*/ 112 h 368"/>
                <a:gd name="T20" fmla="*/ 548 w 573"/>
                <a:gd name="T21" fmla="*/ 72 h 368"/>
                <a:gd name="T22" fmla="*/ 573 w 573"/>
                <a:gd name="T23" fmla="*/ 48 h 368"/>
                <a:gd name="T24" fmla="*/ 548 w 573"/>
                <a:gd name="T25" fmla="*/ 24 h 368"/>
                <a:gd name="T26" fmla="*/ 514 w 573"/>
                <a:gd name="T27" fmla="*/ 0 h 368"/>
                <a:gd name="T28" fmla="*/ 472 w 573"/>
                <a:gd name="T29" fmla="*/ 8 h 368"/>
                <a:gd name="T30" fmla="*/ 447 w 573"/>
                <a:gd name="T31" fmla="*/ 0 h 368"/>
                <a:gd name="T32" fmla="*/ 405 w 573"/>
                <a:gd name="T33" fmla="*/ 8 h 368"/>
                <a:gd name="T34" fmla="*/ 371 w 573"/>
                <a:gd name="T35" fmla="*/ 8 h 368"/>
                <a:gd name="T36" fmla="*/ 329 w 573"/>
                <a:gd name="T37" fmla="*/ 56 h 368"/>
                <a:gd name="T38" fmla="*/ 287 w 573"/>
                <a:gd name="T39" fmla="*/ 48 h 368"/>
                <a:gd name="T40" fmla="*/ 279 w 573"/>
                <a:gd name="T41" fmla="*/ 64 h 368"/>
                <a:gd name="T42" fmla="*/ 228 w 573"/>
                <a:gd name="T43" fmla="*/ 80 h 368"/>
                <a:gd name="T44" fmla="*/ 228 w 573"/>
                <a:gd name="T45" fmla="*/ 112 h 368"/>
                <a:gd name="T46" fmla="*/ 110 w 573"/>
                <a:gd name="T47" fmla="*/ 128 h 368"/>
                <a:gd name="T48" fmla="*/ 85 w 573"/>
                <a:gd name="T49" fmla="*/ 112 h 368"/>
                <a:gd name="T50" fmla="*/ 68 w 573"/>
                <a:gd name="T51" fmla="*/ 104 h 368"/>
                <a:gd name="T52" fmla="*/ 68 w 573"/>
                <a:gd name="T53" fmla="*/ 128 h 368"/>
                <a:gd name="T54" fmla="*/ 26 w 573"/>
                <a:gd name="T55" fmla="*/ 144 h 368"/>
                <a:gd name="T56" fmla="*/ 26 w 573"/>
                <a:gd name="T57" fmla="*/ 184 h 368"/>
                <a:gd name="T58" fmla="*/ 17 w 573"/>
                <a:gd name="T59" fmla="*/ 224 h 368"/>
                <a:gd name="T60" fmla="*/ 0 w 573"/>
                <a:gd name="T61" fmla="*/ 240 h 368"/>
                <a:gd name="T62" fmla="*/ 43 w 573"/>
                <a:gd name="T63" fmla="*/ 288 h 368"/>
                <a:gd name="T64" fmla="*/ 34 w 573"/>
                <a:gd name="T65" fmla="*/ 296 h 368"/>
                <a:gd name="T66" fmla="*/ 68 w 573"/>
                <a:gd name="T67" fmla="*/ 312 h 368"/>
                <a:gd name="T68" fmla="*/ 93 w 573"/>
                <a:gd name="T69" fmla="*/ 336 h 368"/>
                <a:gd name="T70" fmla="*/ 118 w 573"/>
                <a:gd name="T71" fmla="*/ 352 h 368"/>
                <a:gd name="T72" fmla="*/ 152 w 573"/>
                <a:gd name="T73" fmla="*/ 344 h 368"/>
                <a:gd name="T74" fmla="*/ 161 w 573"/>
                <a:gd name="T75" fmla="*/ 368 h 368"/>
                <a:gd name="T76" fmla="*/ 194 w 573"/>
                <a:gd name="T77" fmla="*/ 368 h 368"/>
                <a:gd name="T78" fmla="*/ 253 w 573"/>
                <a:gd name="T79" fmla="*/ 344 h 368"/>
                <a:gd name="T80" fmla="*/ 262 w 573"/>
                <a:gd name="T81" fmla="*/ 344 h 368"/>
                <a:gd name="T82" fmla="*/ 270 w 573"/>
                <a:gd name="T83" fmla="*/ 320 h 368"/>
                <a:gd name="T84" fmla="*/ 295 w 573"/>
                <a:gd name="T85" fmla="*/ 320 h 36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3" h="368">
                  <a:moveTo>
                    <a:pt x="295" y="320"/>
                  </a:moveTo>
                  <a:lnTo>
                    <a:pt x="329" y="304"/>
                  </a:lnTo>
                  <a:lnTo>
                    <a:pt x="380" y="304"/>
                  </a:lnTo>
                  <a:lnTo>
                    <a:pt x="413" y="288"/>
                  </a:lnTo>
                  <a:lnTo>
                    <a:pt x="439" y="272"/>
                  </a:lnTo>
                  <a:lnTo>
                    <a:pt x="455" y="264"/>
                  </a:lnTo>
                  <a:lnTo>
                    <a:pt x="464" y="224"/>
                  </a:lnTo>
                  <a:lnTo>
                    <a:pt x="472" y="200"/>
                  </a:lnTo>
                  <a:lnTo>
                    <a:pt x="498" y="168"/>
                  </a:lnTo>
                  <a:lnTo>
                    <a:pt x="523" y="112"/>
                  </a:lnTo>
                  <a:lnTo>
                    <a:pt x="548" y="72"/>
                  </a:lnTo>
                  <a:lnTo>
                    <a:pt x="573" y="48"/>
                  </a:lnTo>
                  <a:lnTo>
                    <a:pt x="548" y="24"/>
                  </a:lnTo>
                  <a:lnTo>
                    <a:pt x="514" y="0"/>
                  </a:lnTo>
                  <a:lnTo>
                    <a:pt x="472" y="8"/>
                  </a:lnTo>
                  <a:lnTo>
                    <a:pt x="447" y="0"/>
                  </a:lnTo>
                  <a:lnTo>
                    <a:pt x="405" y="8"/>
                  </a:lnTo>
                  <a:lnTo>
                    <a:pt x="371" y="8"/>
                  </a:lnTo>
                  <a:lnTo>
                    <a:pt x="329" y="56"/>
                  </a:lnTo>
                  <a:lnTo>
                    <a:pt x="287" y="48"/>
                  </a:lnTo>
                  <a:lnTo>
                    <a:pt x="279" y="64"/>
                  </a:lnTo>
                  <a:lnTo>
                    <a:pt x="228" y="80"/>
                  </a:lnTo>
                  <a:lnTo>
                    <a:pt x="228" y="112"/>
                  </a:lnTo>
                  <a:lnTo>
                    <a:pt x="110" y="128"/>
                  </a:lnTo>
                  <a:lnTo>
                    <a:pt x="85" y="112"/>
                  </a:lnTo>
                  <a:lnTo>
                    <a:pt x="68" y="104"/>
                  </a:lnTo>
                  <a:lnTo>
                    <a:pt x="68" y="128"/>
                  </a:lnTo>
                  <a:lnTo>
                    <a:pt x="26" y="144"/>
                  </a:lnTo>
                  <a:lnTo>
                    <a:pt x="26" y="184"/>
                  </a:lnTo>
                  <a:lnTo>
                    <a:pt x="17" y="224"/>
                  </a:lnTo>
                  <a:lnTo>
                    <a:pt x="0" y="240"/>
                  </a:lnTo>
                  <a:lnTo>
                    <a:pt x="43" y="288"/>
                  </a:lnTo>
                  <a:lnTo>
                    <a:pt x="34" y="296"/>
                  </a:lnTo>
                  <a:lnTo>
                    <a:pt x="68" y="312"/>
                  </a:lnTo>
                  <a:lnTo>
                    <a:pt x="93" y="336"/>
                  </a:lnTo>
                  <a:lnTo>
                    <a:pt x="118" y="352"/>
                  </a:lnTo>
                  <a:lnTo>
                    <a:pt x="152" y="344"/>
                  </a:lnTo>
                  <a:lnTo>
                    <a:pt x="161" y="368"/>
                  </a:lnTo>
                  <a:lnTo>
                    <a:pt x="194" y="368"/>
                  </a:lnTo>
                  <a:lnTo>
                    <a:pt x="253" y="344"/>
                  </a:lnTo>
                  <a:lnTo>
                    <a:pt x="262" y="344"/>
                  </a:lnTo>
                  <a:lnTo>
                    <a:pt x="270" y="320"/>
                  </a:lnTo>
                  <a:lnTo>
                    <a:pt x="295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01" name="Freeform 55"/>
            <p:cNvSpPr>
              <a:spLocks/>
            </p:cNvSpPr>
            <p:nvPr/>
          </p:nvSpPr>
          <p:spPr bwMode="auto">
            <a:xfrm>
              <a:off x="4308" y="3192"/>
              <a:ext cx="388" cy="320"/>
            </a:xfrm>
            <a:custGeom>
              <a:avLst/>
              <a:gdLst>
                <a:gd name="T0" fmla="*/ 287 w 388"/>
                <a:gd name="T1" fmla="*/ 264 h 320"/>
                <a:gd name="T2" fmla="*/ 312 w 388"/>
                <a:gd name="T3" fmla="*/ 248 h 320"/>
                <a:gd name="T4" fmla="*/ 320 w 388"/>
                <a:gd name="T5" fmla="*/ 216 h 320"/>
                <a:gd name="T6" fmla="*/ 346 w 388"/>
                <a:gd name="T7" fmla="*/ 216 h 320"/>
                <a:gd name="T8" fmla="*/ 337 w 388"/>
                <a:gd name="T9" fmla="*/ 192 h 320"/>
                <a:gd name="T10" fmla="*/ 388 w 388"/>
                <a:gd name="T11" fmla="*/ 176 h 320"/>
                <a:gd name="T12" fmla="*/ 362 w 388"/>
                <a:gd name="T13" fmla="*/ 136 h 320"/>
                <a:gd name="T14" fmla="*/ 388 w 388"/>
                <a:gd name="T15" fmla="*/ 120 h 320"/>
                <a:gd name="T16" fmla="*/ 346 w 388"/>
                <a:gd name="T17" fmla="*/ 96 h 320"/>
                <a:gd name="T18" fmla="*/ 337 w 388"/>
                <a:gd name="T19" fmla="*/ 64 h 320"/>
                <a:gd name="T20" fmla="*/ 337 w 388"/>
                <a:gd name="T21" fmla="*/ 32 h 320"/>
                <a:gd name="T22" fmla="*/ 304 w 388"/>
                <a:gd name="T23" fmla="*/ 32 h 320"/>
                <a:gd name="T24" fmla="*/ 295 w 388"/>
                <a:gd name="T25" fmla="*/ 16 h 320"/>
                <a:gd name="T26" fmla="*/ 270 w 388"/>
                <a:gd name="T27" fmla="*/ 16 h 320"/>
                <a:gd name="T28" fmla="*/ 236 w 388"/>
                <a:gd name="T29" fmla="*/ 8 h 320"/>
                <a:gd name="T30" fmla="*/ 202 w 388"/>
                <a:gd name="T31" fmla="*/ 16 h 320"/>
                <a:gd name="T32" fmla="*/ 152 w 388"/>
                <a:gd name="T33" fmla="*/ 8 h 320"/>
                <a:gd name="T34" fmla="*/ 110 w 388"/>
                <a:gd name="T35" fmla="*/ 0 h 320"/>
                <a:gd name="T36" fmla="*/ 76 w 388"/>
                <a:gd name="T37" fmla="*/ 8 h 320"/>
                <a:gd name="T38" fmla="*/ 68 w 388"/>
                <a:gd name="T39" fmla="*/ 32 h 320"/>
                <a:gd name="T40" fmla="*/ 34 w 388"/>
                <a:gd name="T41" fmla="*/ 16 h 320"/>
                <a:gd name="T42" fmla="*/ 17 w 388"/>
                <a:gd name="T43" fmla="*/ 16 h 320"/>
                <a:gd name="T44" fmla="*/ 0 w 388"/>
                <a:gd name="T45" fmla="*/ 64 h 320"/>
                <a:gd name="T46" fmla="*/ 34 w 388"/>
                <a:gd name="T47" fmla="*/ 80 h 320"/>
                <a:gd name="T48" fmla="*/ 68 w 388"/>
                <a:gd name="T49" fmla="*/ 128 h 320"/>
                <a:gd name="T50" fmla="*/ 118 w 388"/>
                <a:gd name="T51" fmla="*/ 160 h 320"/>
                <a:gd name="T52" fmla="*/ 143 w 388"/>
                <a:gd name="T53" fmla="*/ 192 h 320"/>
                <a:gd name="T54" fmla="*/ 177 w 388"/>
                <a:gd name="T55" fmla="*/ 208 h 320"/>
                <a:gd name="T56" fmla="*/ 186 w 388"/>
                <a:gd name="T57" fmla="*/ 224 h 320"/>
                <a:gd name="T58" fmla="*/ 211 w 388"/>
                <a:gd name="T59" fmla="*/ 248 h 320"/>
                <a:gd name="T60" fmla="*/ 211 w 388"/>
                <a:gd name="T61" fmla="*/ 280 h 320"/>
                <a:gd name="T62" fmla="*/ 295 w 388"/>
                <a:gd name="T63" fmla="*/ 320 h 320"/>
                <a:gd name="T64" fmla="*/ 295 w 388"/>
                <a:gd name="T65" fmla="*/ 280 h 320"/>
                <a:gd name="T66" fmla="*/ 287 w 388"/>
                <a:gd name="T67" fmla="*/ 264 h 32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388" h="320">
                  <a:moveTo>
                    <a:pt x="287" y="264"/>
                  </a:moveTo>
                  <a:lnTo>
                    <a:pt x="312" y="248"/>
                  </a:lnTo>
                  <a:lnTo>
                    <a:pt x="320" y="216"/>
                  </a:lnTo>
                  <a:lnTo>
                    <a:pt x="346" y="216"/>
                  </a:lnTo>
                  <a:lnTo>
                    <a:pt x="337" y="192"/>
                  </a:lnTo>
                  <a:lnTo>
                    <a:pt x="388" y="176"/>
                  </a:lnTo>
                  <a:lnTo>
                    <a:pt x="362" y="136"/>
                  </a:lnTo>
                  <a:lnTo>
                    <a:pt x="388" y="120"/>
                  </a:lnTo>
                  <a:lnTo>
                    <a:pt x="346" y="96"/>
                  </a:lnTo>
                  <a:lnTo>
                    <a:pt x="337" y="64"/>
                  </a:lnTo>
                  <a:lnTo>
                    <a:pt x="337" y="32"/>
                  </a:lnTo>
                  <a:lnTo>
                    <a:pt x="304" y="32"/>
                  </a:lnTo>
                  <a:lnTo>
                    <a:pt x="295" y="16"/>
                  </a:lnTo>
                  <a:lnTo>
                    <a:pt x="270" y="16"/>
                  </a:lnTo>
                  <a:lnTo>
                    <a:pt x="236" y="8"/>
                  </a:lnTo>
                  <a:lnTo>
                    <a:pt x="202" y="16"/>
                  </a:lnTo>
                  <a:lnTo>
                    <a:pt x="152" y="8"/>
                  </a:lnTo>
                  <a:lnTo>
                    <a:pt x="110" y="0"/>
                  </a:lnTo>
                  <a:lnTo>
                    <a:pt x="76" y="8"/>
                  </a:lnTo>
                  <a:lnTo>
                    <a:pt x="68" y="32"/>
                  </a:lnTo>
                  <a:lnTo>
                    <a:pt x="34" y="16"/>
                  </a:lnTo>
                  <a:lnTo>
                    <a:pt x="17" y="16"/>
                  </a:lnTo>
                  <a:lnTo>
                    <a:pt x="0" y="64"/>
                  </a:lnTo>
                  <a:lnTo>
                    <a:pt x="34" y="80"/>
                  </a:lnTo>
                  <a:lnTo>
                    <a:pt x="68" y="128"/>
                  </a:lnTo>
                  <a:lnTo>
                    <a:pt x="118" y="160"/>
                  </a:lnTo>
                  <a:lnTo>
                    <a:pt x="143" y="192"/>
                  </a:lnTo>
                  <a:lnTo>
                    <a:pt x="177" y="208"/>
                  </a:lnTo>
                  <a:lnTo>
                    <a:pt x="186" y="224"/>
                  </a:lnTo>
                  <a:lnTo>
                    <a:pt x="211" y="248"/>
                  </a:lnTo>
                  <a:lnTo>
                    <a:pt x="211" y="280"/>
                  </a:lnTo>
                  <a:lnTo>
                    <a:pt x="295" y="320"/>
                  </a:lnTo>
                  <a:lnTo>
                    <a:pt x="295" y="280"/>
                  </a:lnTo>
                  <a:lnTo>
                    <a:pt x="287" y="2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02" name="Freeform 56"/>
            <p:cNvSpPr>
              <a:spLocks/>
            </p:cNvSpPr>
            <p:nvPr/>
          </p:nvSpPr>
          <p:spPr bwMode="auto">
            <a:xfrm>
              <a:off x="4333" y="2760"/>
              <a:ext cx="573" cy="368"/>
            </a:xfrm>
            <a:custGeom>
              <a:avLst/>
              <a:gdLst>
                <a:gd name="T0" fmla="*/ 295 w 573"/>
                <a:gd name="T1" fmla="*/ 320 h 368"/>
                <a:gd name="T2" fmla="*/ 329 w 573"/>
                <a:gd name="T3" fmla="*/ 304 h 368"/>
                <a:gd name="T4" fmla="*/ 380 w 573"/>
                <a:gd name="T5" fmla="*/ 304 h 368"/>
                <a:gd name="T6" fmla="*/ 413 w 573"/>
                <a:gd name="T7" fmla="*/ 288 h 368"/>
                <a:gd name="T8" fmla="*/ 439 w 573"/>
                <a:gd name="T9" fmla="*/ 272 h 368"/>
                <a:gd name="T10" fmla="*/ 455 w 573"/>
                <a:gd name="T11" fmla="*/ 264 h 368"/>
                <a:gd name="T12" fmla="*/ 464 w 573"/>
                <a:gd name="T13" fmla="*/ 224 h 368"/>
                <a:gd name="T14" fmla="*/ 472 w 573"/>
                <a:gd name="T15" fmla="*/ 200 h 368"/>
                <a:gd name="T16" fmla="*/ 498 w 573"/>
                <a:gd name="T17" fmla="*/ 168 h 368"/>
                <a:gd name="T18" fmla="*/ 523 w 573"/>
                <a:gd name="T19" fmla="*/ 112 h 368"/>
                <a:gd name="T20" fmla="*/ 548 w 573"/>
                <a:gd name="T21" fmla="*/ 72 h 368"/>
                <a:gd name="T22" fmla="*/ 573 w 573"/>
                <a:gd name="T23" fmla="*/ 48 h 368"/>
                <a:gd name="T24" fmla="*/ 548 w 573"/>
                <a:gd name="T25" fmla="*/ 24 h 368"/>
                <a:gd name="T26" fmla="*/ 514 w 573"/>
                <a:gd name="T27" fmla="*/ 0 h 368"/>
                <a:gd name="T28" fmla="*/ 472 w 573"/>
                <a:gd name="T29" fmla="*/ 8 h 368"/>
                <a:gd name="T30" fmla="*/ 447 w 573"/>
                <a:gd name="T31" fmla="*/ 0 h 368"/>
                <a:gd name="T32" fmla="*/ 405 w 573"/>
                <a:gd name="T33" fmla="*/ 8 h 368"/>
                <a:gd name="T34" fmla="*/ 371 w 573"/>
                <a:gd name="T35" fmla="*/ 8 h 368"/>
                <a:gd name="T36" fmla="*/ 329 w 573"/>
                <a:gd name="T37" fmla="*/ 56 h 368"/>
                <a:gd name="T38" fmla="*/ 287 w 573"/>
                <a:gd name="T39" fmla="*/ 48 h 368"/>
                <a:gd name="T40" fmla="*/ 279 w 573"/>
                <a:gd name="T41" fmla="*/ 64 h 368"/>
                <a:gd name="T42" fmla="*/ 228 w 573"/>
                <a:gd name="T43" fmla="*/ 80 h 368"/>
                <a:gd name="T44" fmla="*/ 228 w 573"/>
                <a:gd name="T45" fmla="*/ 112 h 368"/>
                <a:gd name="T46" fmla="*/ 110 w 573"/>
                <a:gd name="T47" fmla="*/ 128 h 368"/>
                <a:gd name="T48" fmla="*/ 85 w 573"/>
                <a:gd name="T49" fmla="*/ 112 h 368"/>
                <a:gd name="T50" fmla="*/ 68 w 573"/>
                <a:gd name="T51" fmla="*/ 104 h 368"/>
                <a:gd name="T52" fmla="*/ 68 w 573"/>
                <a:gd name="T53" fmla="*/ 128 h 368"/>
                <a:gd name="T54" fmla="*/ 26 w 573"/>
                <a:gd name="T55" fmla="*/ 144 h 368"/>
                <a:gd name="T56" fmla="*/ 26 w 573"/>
                <a:gd name="T57" fmla="*/ 184 h 368"/>
                <a:gd name="T58" fmla="*/ 17 w 573"/>
                <a:gd name="T59" fmla="*/ 224 h 368"/>
                <a:gd name="T60" fmla="*/ 0 w 573"/>
                <a:gd name="T61" fmla="*/ 240 h 368"/>
                <a:gd name="T62" fmla="*/ 43 w 573"/>
                <a:gd name="T63" fmla="*/ 288 h 368"/>
                <a:gd name="T64" fmla="*/ 34 w 573"/>
                <a:gd name="T65" fmla="*/ 296 h 368"/>
                <a:gd name="T66" fmla="*/ 68 w 573"/>
                <a:gd name="T67" fmla="*/ 312 h 368"/>
                <a:gd name="T68" fmla="*/ 93 w 573"/>
                <a:gd name="T69" fmla="*/ 336 h 368"/>
                <a:gd name="T70" fmla="*/ 118 w 573"/>
                <a:gd name="T71" fmla="*/ 352 h 368"/>
                <a:gd name="T72" fmla="*/ 152 w 573"/>
                <a:gd name="T73" fmla="*/ 344 h 368"/>
                <a:gd name="T74" fmla="*/ 161 w 573"/>
                <a:gd name="T75" fmla="*/ 368 h 368"/>
                <a:gd name="T76" fmla="*/ 194 w 573"/>
                <a:gd name="T77" fmla="*/ 368 h 368"/>
                <a:gd name="T78" fmla="*/ 253 w 573"/>
                <a:gd name="T79" fmla="*/ 344 h 368"/>
                <a:gd name="T80" fmla="*/ 262 w 573"/>
                <a:gd name="T81" fmla="*/ 344 h 368"/>
                <a:gd name="T82" fmla="*/ 270 w 573"/>
                <a:gd name="T83" fmla="*/ 320 h 368"/>
                <a:gd name="T84" fmla="*/ 295 w 573"/>
                <a:gd name="T85" fmla="*/ 320 h 36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3" h="368">
                  <a:moveTo>
                    <a:pt x="295" y="320"/>
                  </a:moveTo>
                  <a:lnTo>
                    <a:pt x="329" y="304"/>
                  </a:lnTo>
                  <a:lnTo>
                    <a:pt x="380" y="304"/>
                  </a:lnTo>
                  <a:lnTo>
                    <a:pt x="413" y="288"/>
                  </a:lnTo>
                  <a:lnTo>
                    <a:pt x="439" y="272"/>
                  </a:lnTo>
                  <a:lnTo>
                    <a:pt x="455" y="264"/>
                  </a:lnTo>
                  <a:lnTo>
                    <a:pt x="464" y="224"/>
                  </a:lnTo>
                  <a:lnTo>
                    <a:pt x="472" y="200"/>
                  </a:lnTo>
                  <a:lnTo>
                    <a:pt x="498" y="168"/>
                  </a:lnTo>
                  <a:lnTo>
                    <a:pt x="523" y="112"/>
                  </a:lnTo>
                  <a:lnTo>
                    <a:pt x="548" y="72"/>
                  </a:lnTo>
                  <a:lnTo>
                    <a:pt x="573" y="48"/>
                  </a:lnTo>
                  <a:lnTo>
                    <a:pt x="548" y="24"/>
                  </a:lnTo>
                  <a:lnTo>
                    <a:pt x="514" y="0"/>
                  </a:lnTo>
                  <a:lnTo>
                    <a:pt x="472" y="8"/>
                  </a:lnTo>
                  <a:lnTo>
                    <a:pt x="447" y="0"/>
                  </a:lnTo>
                  <a:lnTo>
                    <a:pt x="405" y="8"/>
                  </a:lnTo>
                  <a:lnTo>
                    <a:pt x="371" y="8"/>
                  </a:lnTo>
                  <a:lnTo>
                    <a:pt x="329" y="56"/>
                  </a:lnTo>
                  <a:lnTo>
                    <a:pt x="287" y="48"/>
                  </a:lnTo>
                  <a:lnTo>
                    <a:pt x="279" y="64"/>
                  </a:lnTo>
                  <a:lnTo>
                    <a:pt x="228" y="80"/>
                  </a:lnTo>
                  <a:lnTo>
                    <a:pt x="228" y="112"/>
                  </a:lnTo>
                  <a:lnTo>
                    <a:pt x="110" y="128"/>
                  </a:lnTo>
                  <a:lnTo>
                    <a:pt x="85" y="112"/>
                  </a:lnTo>
                  <a:lnTo>
                    <a:pt x="68" y="104"/>
                  </a:lnTo>
                  <a:lnTo>
                    <a:pt x="68" y="128"/>
                  </a:lnTo>
                  <a:lnTo>
                    <a:pt x="26" y="144"/>
                  </a:lnTo>
                  <a:lnTo>
                    <a:pt x="26" y="184"/>
                  </a:lnTo>
                  <a:lnTo>
                    <a:pt x="17" y="224"/>
                  </a:lnTo>
                  <a:lnTo>
                    <a:pt x="0" y="240"/>
                  </a:lnTo>
                  <a:lnTo>
                    <a:pt x="43" y="288"/>
                  </a:lnTo>
                  <a:lnTo>
                    <a:pt x="34" y="296"/>
                  </a:lnTo>
                  <a:lnTo>
                    <a:pt x="68" y="312"/>
                  </a:lnTo>
                  <a:lnTo>
                    <a:pt x="93" y="336"/>
                  </a:lnTo>
                  <a:lnTo>
                    <a:pt x="118" y="352"/>
                  </a:lnTo>
                  <a:lnTo>
                    <a:pt x="152" y="344"/>
                  </a:lnTo>
                  <a:lnTo>
                    <a:pt x="161" y="368"/>
                  </a:lnTo>
                  <a:lnTo>
                    <a:pt x="194" y="368"/>
                  </a:lnTo>
                  <a:lnTo>
                    <a:pt x="253" y="344"/>
                  </a:lnTo>
                  <a:lnTo>
                    <a:pt x="262" y="344"/>
                  </a:lnTo>
                  <a:lnTo>
                    <a:pt x="270" y="320"/>
                  </a:lnTo>
                  <a:lnTo>
                    <a:pt x="295" y="3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03" name="Freeform 57"/>
            <p:cNvSpPr>
              <a:spLocks/>
            </p:cNvSpPr>
            <p:nvPr/>
          </p:nvSpPr>
          <p:spPr bwMode="auto">
            <a:xfrm>
              <a:off x="4788" y="2760"/>
              <a:ext cx="26" cy="8"/>
            </a:xfrm>
            <a:custGeom>
              <a:avLst/>
              <a:gdLst>
                <a:gd name="T0" fmla="*/ 17 w 26"/>
                <a:gd name="T1" fmla="*/ 8 h 8"/>
                <a:gd name="T2" fmla="*/ 26 w 26"/>
                <a:gd name="T3" fmla="*/ 8 h 8"/>
                <a:gd name="T4" fmla="*/ 0 w 26"/>
                <a:gd name="T5" fmla="*/ 0 h 8"/>
                <a:gd name="T6" fmla="*/ 17 w 26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" h="8">
                  <a:moveTo>
                    <a:pt x="17" y="8"/>
                  </a:moveTo>
                  <a:lnTo>
                    <a:pt x="26" y="8"/>
                  </a:lnTo>
                  <a:lnTo>
                    <a:pt x="0" y="0"/>
                  </a:lnTo>
                  <a:lnTo>
                    <a:pt x="17" y="8"/>
                  </a:ln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04" name="Freeform 58"/>
            <p:cNvSpPr>
              <a:spLocks/>
            </p:cNvSpPr>
            <p:nvPr/>
          </p:nvSpPr>
          <p:spPr bwMode="auto">
            <a:xfrm>
              <a:off x="4814" y="2768"/>
              <a:ext cx="17" cy="1"/>
            </a:xfrm>
            <a:custGeom>
              <a:avLst/>
              <a:gdLst>
                <a:gd name="T0" fmla="*/ 17 w 17"/>
                <a:gd name="T1" fmla="*/ 0 h 1"/>
                <a:gd name="T2" fmla="*/ 0 w 17"/>
                <a:gd name="T3" fmla="*/ 0 h 1"/>
                <a:gd name="T4" fmla="*/ 17 w 17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7" h="1">
                  <a:moveTo>
                    <a:pt x="17" y="0"/>
                  </a:moveTo>
                  <a:lnTo>
                    <a:pt x="0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05" name="Line 59"/>
            <p:cNvSpPr>
              <a:spLocks noChangeShapeType="1"/>
            </p:cNvSpPr>
            <p:nvPr/>
          </p:nvSpPr>
          <p:spPr bwMode="auto">
            <a:xfrm flipV="1">
              <a:off x="4805" y="2760"/>
              <a:ext cx="26" cy="8"/>
            </a:xfrm>
            <a:prstGeom prst="line">
              <a:avLst/>
            </a:pr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06" name="Line 60"/>
            <p:cNvSpPr>
              <a:spLocks noChangeShapeType="1"/>
            </p:cNvSpPr>
            <p:nvPr/>
          </p:nvSpPr>
          <p:spPr bwMode="auto">
            <a:xfrm flipV="1">
              <a:off x="4805" y="2760"/>
              <a:ext cx="26" cy="8"/>
            </a:xfrm>
            <a:prstGeom prst="line">
              <a:avLst/>
            </a:pr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07" name="Freeform 61"/>
            <p:cNvSpPr>
              <a:spLocks/>
            </p:cNvSpPr>
            <p:nvPr/>
          </p:nvSpPr>
          <p:spPr bwMode="auto">
            <a:xfrm>
              <a:off x="4780" y="2760"/>
              <a:ext cx="8" cy="1"/>
            </a:xfrm>
            <a:custGeom>
              <a:avLst/>
              <a:gdLst>
                <a:gd name="T0" fmla="*/ 0 w 8"/>
                <a:gd name="T1" fmla="*/ 0 h 1"/>
                <a:gd name="T2" fmla="*/ 8 w 8"/>
                <a:gd name="T3" fmla="*/ 0 h 1"/>
                <a:gd name="T4" fmla="*/ 0 w 8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08" name="Freeform 62"/>
            <p:cNvSpPr>
              <a:spLocks/>
            </p:cNvSpPr>
            <p:nvPr/>
          </p:nvSpPr>
          <p:spPr bwMode="auto">
            <a:xfrm>
              <a:off x="4527" y="2664"/>
              <a:ext cx="26" cy="16"/>
            </a:xfrm>
            <a:custGeom>
              <a:avLst/>
              <a:gdLst>
                <a:gd name="T0" fmla="*/ 26 w 26"/>
                <a:gd name="T1" fmla="*/ 16 h 16"/>
                <a:gd name="T2" fmla="*/ 0 w 26"/>
                <a:gd name="T3" fmla="*/ 0 h 16"/>
                <a:gd name="T4" fmla="*/ 0 w 26"/>
                <a:gd name="T5" fmla="*/ 8 h 16"/>
                <a:gd name="T6" fmla="*/ 17 w 26"/>
                <a:gd name="T7" fmla="*/ 16 h 16"/>
                <a:gd name="T8" fmla="*/ 26 w 26"/>
                <a:gd name="T9" fmla="*/ 16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6">
                  <a:moveTo>
                    <a:pt x="26" y="16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17" y="16"/>
                  </a:ln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09" name="Freeform 63"/>
            <p:cNvSpPr>
              <a:spLocks/>
            </p:cNvSpPr>
            <p:nvPr/>
          </p:nvSpPr>
          <p:spPr bwMode="auto">
            <a:xfrm>
              <a:off x="4780" y="2760"/>
              <a:ext cx="8" cy="1"/>
            </a:xfrm>
            <a:custGeom>
              <a:avLst/>
              <a:gdLst>
                <a:gd name="T0" fmla="*/ 0 w 8"/>
                <a:gd name="T1" fmla="*/ 0 h 1"/>
                <a:gd name="T2" fmla="*/ 8 w 8"/>
                <a:gd name="T3" fmla="*/ 0 h 1"/>
                <a:gd name="T4" fmla="*/ 0 w 8"/>
                <a:gd name="T5" fmla="*/ 0 h 1"/>
                <a:gd name="T6" fmla="*/ 0 w 8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10" name="Freeform 64"/>
            <p:cNvSpPr>
              <a:spLocks/>
            </p:cNvSpPr>
            <p:nvPr/>
          </p:nvSpPr>
          <p:spPr bwMode="auto">
            <a:xfrm>
              <a:off x="4527" y="2664"/>
              <a:ext cx="26" cy="16"/>
            </a:xfrm>
            <a:custGeom>
              <a:avLst/>
              <a:gdLst>
                <a:gd name="T0" fmla="*/ 26 w 26"/>
                <a:gd name="T1" fmla="*/ 16 h 16"/>
                <a:gd name="T2" fmla="*/ 0 w 26"/>
                <a:gd name="T3" fmla="*/ 0 h 16"/>
                <a:gd name="T4" fmla="*/ 0 w 26"/>
                <a:gd name="T5" fmla="*/ 8 h 16"/>
                <a:gd name="T6" fmla="*/ 17 w 26"/>
                <a:gd name="T7" fmla="*/ 16 h 16"/>
                <a:gd name="T8" fmla="*/ 26 w 26"/>
                <a:gd name="T9" fmla="*/ 16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6">
                  <a:moveTo>
                    <a:pt x="26" y="16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17" y="16"/>
                  </a:lnTo>
                  <a:lnTo>
                    <a:pt x="26" y="16"/>
                  </a:lnTo>
                  <a:close/>
                </a:path>
              </a:pathLst>
            </a:custGeom>
            <a:grp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11" name="Freeform 65"/>
            <p:cNvSpPr>
              <a:spLocks/>
            </p:cNvSpPr>
            <p:nvPr/>
          </p:nvSpPr>
          <p:spPr bwMode="auto">
            <a:xfrm>
              <a:off x="4376" y="2656"/>
              <a:ext cx="480" cy="232"/>
            </a:xfrm>
            <a:custGeom>
              <a:avLst/>
              <a:gdLst>
                <a:gd name="T0" fmla="*/ 421 w 480"/>
                <a:gd name="T1" fmla="*/ 8 h 232"/>
                <a:gd name="T2" fmla="*/ 396 w 480"/>
                <a:gd name="T3" fmla="*/ 0 h 232"/>
                <a:gd name="T4" fmla="*/ 353 w 480"/>
                <a:gd name="T5" fmla="*/ 0 h 232"/>
                <a:gd name="T6" fmla="*/ 328 w 480"/>
                <a:gd name="T7" fmla="*/ 16 h 232"/>
                <a:gd name="T8" fmla="*/ 294 w 480"/>
                <a:gd name="T9" fmla="*/ 16 h 232"/>
                <a:gd name="T10" fmla="*/ 269 w 480"/>
                <a:gd name="T11" fmla="*/ 40 h 232"/>
                <a:gd name="T12" fmla="*/ 244 w 480"/>
                <a:gd name="T13" fmla="*/ 40 h 232"/>
                <a:gd name="T14" fmla="*/ 236 w 480"/>
                <a:gd name="T15" fmla="*/ 24 h 232"/>
                <a:gd name="T16" fmla="*/ 210 w 480"/>
                <a:gd name="T17" fmla="*/ 0 h 232"/>
                <a:gd name="T18" fmla="*/ 177 w 480"/>
                <a:gd name="T19" fmla="*/ 24 h 232"/>
                <a:gd name="T20" fmla="*/ 168 w 480"/>
                <a:gd name="T21" fmla="*/ 24 h 232"/>
                <a:gd name="T22" fmla="*/ 151 w 480"/>
                <a:gd name="T23" fmla="*/ 16 h 232"/>
                <a:gd name="T24" fmla="*/ 126 w 480"/>
                <a:gd name="T25" fmla="*/ 32 h 232"/>
                <a:gd name="T26" fmla="*/ 101 w 480"/>
                <a:gd name="T27" fmla="*/ 56 h 232"/>
                <a:gd name="T28" fmla="*/ 67 w 480"/>
                <a:gd name="T29" fmla="*/ 104 h 232"/>
                <a:gd name="T30" fmla="*/ 25 w 480"/>
                <a:gd name="T31" fmla="*/ 104 h 232"/>
                <a:gd name="T32" fmla="*/ 0 w 480"/>
                <a:gd name="T33" fmla="*/ 136 h 232"/>
                <a:gd name="T34" fmla="*/ 0 w 480"/>
                <a:gd name="T35" fmla="*/ 176 h 232"/>
                <a:gd name="T36" fmla="*/ 33 w 480"/>
                <a:gd name="T37" fmla="*/ 200 h 232"/>
                <a:gd name="T38" fmla="*/ 25 w 480"/>
                <a:gd name="T39" fmla="*/ 208 h 232"/>
                <a:gd name="T40" fmla="*/ 42 w 480"/>
                <a:gd name="T41" fmla="*/ 216 h 232"/>
                <a:gd name="T42" fmla="*/ 67 w 480"/>
                <a:gd name="T43" fmla="*/ 232 h 232"/>
                <a:gd name="T44" fmla="*/ 185 w 480"/>
                <a:gd name="T45" fmla="*/ 216 h 232"/>
                <a:gd name="T46" fmla="*/ 185 w 480"/>
                <a:gd name="T47" fmla="*/ 184 h 232"/>
                <a:gd name="T48" fmla="*/ 236 w 480"/>
                <a:gd name="T49" fmla="*/ 168 h 232"/>
                <a:gd name="T50" fmla="*/ 244 w 480"/>
                <a:gd name="T51" fmla="*/ 152 h 232"/>
                <a:gd name="T52" fmla="*/ 286 w 480"/>
                <a:gd name="T53" fmla="*/ 160 h 232"/>
                <a:gd name="T54" fmla="*/ 328 w 480"/>
                <a:gd name="T55" fmla="*/ 112 h 232"/>
                <a:gd name="T56" fmla="*/ 362 w 480"/>
                <a:gd name="T57" fmla="*/ 112 h 232"/>
                <a:gd name="T58" fmla="*/ 404 w 480"/>
                <a:gd name="T59" fmla="*/ 104 h 232"/>
                <a:gd name="T60" fmla="*/ 412 w 480"/>
                <a:gd name="T61" fmla="*/ 104 h 232"/>
                <a:gd name="T62" fmla="*/ 438 w 480"/>
                <a:gd name="T63" fmla="*/ 112 h 232"/>
                <a:gd name="T64" fmla="*/ 455 w 480"/>
                <a:gd name="T65" fmla="*/ 112 h 232"/>
                <a:gd name="T66" fmla="*/ 463 w 480"/>
                <a:gd name="T67" fmla="*/ 64 h 232"/>
                <a:gd name="T68" fmla="*/ 480 w 480"/>
                <a:gd name="T69" fmla="*/ 16 h 232"/>
                <a:gd name="T70" fmla="*/ 421 w 480"/>
                <a:gd name="T71" fmla="*/ 8 h 23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480" h="232">
                  <a:moveTo>
                    <a:pt x="421" y="8"/>
                  </a:moveTo>
                  <a:lnTo>
                    <a:pt x="396" y="0"/>
                  </a:lnTo>
                  <a:lnTo>
                    <a:pt x="353" y="0"/>
                  </a:lnTo>
                  <a:lnTo>
                    <a:pt x="328" y="16"/>
                  </a:lnTo>
                  <a:lnTo>
                    <a:pt x="294" y="16"/>
                  </a:lnTo>
                  <a:lnTo>
                    <a:pt x="269" y="40"/>
                  </a:lnTo>
                  <a:lnTo>
                    <a:pt x="244" y="40"/>
                  </a:lnTo>
                  <a:lnTo>
                    <a:pt x="236" y="24"/>
                  </a:lnTo>
                  <a:lnTo>
                    <a:pt x="210" y="0"/>
                  </a:lnTo>
                  <a:lnTo>
                    <a:pt x="177" y="24"/>
                  </a:lnTo>
                  <a:lnTo>
                    <a:pt x="168" y="24"/>
                  </a:lnTo>
                  <a:lnTo>
                    <a:pt x="151" y="16"/>
                  </a:lnTo>
                  <a:lnTo>
                    <a:pt x="126" y="32"/>
                  </a:lnTo>
                  <a:lnTo>
                    <a:pt x="101" y="56"/>
                  </a:lnTo>
                  <a:lnTo>
                    <a:pt x="67" y="104"/>
                  </a:lnTo>
                  <a:lnTo>
                    <a:pt x="25" y="104"/>
                  </a:lnTo>
                  <a:lnTo>
                    <a:pt x="0" y="136"/>
                  </a:lnTo>
                  <a:lnTo>
                    <a:pt x="0" y="176"/>
                  </a:lnTo>
                  <a:lnTo>
                    <a:pt x="33" y="200"/>
                  </a:lnTo>
                  <a:lnTo>
                    <a:pt x="25" y="208"/>
                  </a:lnTo>
                  <a:lnTo>
                    <a:pt x="42" y="216"/>
                  </a:lnTo>
                  <a:lnTo>
                    <a:pt x="67" y="232"/>
                  </a:lnTo>
                  <a:lnTo>
                    <a:pt x="185" y="216"/>
                  </a:lnTo>
                  <a:lnTo>
                    <a:pt x="185" y="184"/>
                  </a:lnTo>
                  <a:lnTo>
                    <a:pt x="236" y="168"/>
                  </a:lnTo>
                  <a:lnTo>
                    <a:pt x="244" y="152"/>
                  </a:lnTo>
                  <a:lnTo>
                    <a:pt x="286" y="160"/>
                  </a:lnTo>
                  <a:lnTo>
                    <a:pt x="328" y="112"/>
                  </a:lnTo>
                  <a:lnTo>
                    <a:pt x="362" y="112"/>
                  </a:lnTo>
                  <a:lnTo>
                    <a:pt x="404" y="104"/>
                  </a:lnTo>
                  <a:lnTo>
                    <a:pt x="412" y="104"/>
                  </a:lnTo>
                  <a:lnTo>
                    <a:pt x="438" y="112"/>
                  </a:lnTo>
                  <a:lnTo>
                    <a:pt x="455" y="112"/>
                  </a:lnTo>
                  <a:lnTo>
                    <a:pt x="463" y="64"/>
                  </a:lnTo>
                  <a:lnTo>
                    <a:pt x="480" y="16"/>
                  </a:lnTo>
                  <a:lnTo>
                    <a:pt x="421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12" name="Freeform 66"/>
            <p:cNvSpPr>
              <a:spLocks/>
            </p:cNvSpPr>
            <p:nvPr/>
          </p:nvSpPr>
          <p:spPr bwMode="auto">
            <a:xfrm>
              <a:off x="4595" y="3056"/>
              <a:ext cx="438" cy="504"/>
            </a:xfrm>
            <a:custGeom>
              <a:avLst/>
              <a:gdLst>
                <a:gd name="T0" fmla="*/ 126 w 438"/>
                <a:gd name="T1" fmla="*/ 424 h 504"/>
                <a:gd name="T2" fmla="*/ 160 w 438"/>
                <a:gd name="T3" fmla="*/ 440 h 504"/>
                <a:gd name="T4" fmla="*/ 185 w 438"/>
                <a:gd name="T5" fmla="*/ 440 h 504"/>
                <a:gd name="T6" fmla="*/ 202 w 438"/>
                <a:gd name="T7" fmla="*/ 456 h 504"/>
                <a:gd name="T8" fmla="*/ 236 w 438"/>
                <a:gd name="T9" fmla="*/ 496 h 504"/>
                <a:gd name="T10" fmla="*/ 252 w 438"/>
                <a:gd name="T11" fmla="*/ 504 h 504"/>
                <a:gd name="T12" fmla="*/ 261 w 438"/>
                <a:gd name="T13" fmla="*/ 472 h 504"/>
                <a:gd name="T14" fmla="*/ 286 w 438"/>
                <a:gd name="T15" fmla="*/ 464 h 504"/>
                <a:gd name="T16" fmla="*/ 311 w 438"/>
                <a:gd name="T17" fmla="*/ 456 h 504"/>
                <a:gd name="T18" fmla="*/ 370 w 438"/>
                <a:gd name="T19" fmla="*/ 432 h 504"/>
                <a:gd name="T20" fmla="*/ 413 w 438"/>
                <a:gd name="T21" fmla="*/ 432 h 504"/>
                <a:gd name="T22" fmla="*/ 421 w 438"/>
                <a:gd name="T23" fmla="*/ 400 h 504"/>
                <a:gd name="T24" fmla="*/ 404 w 438"/>
                <a:gd name="T25" fmla="*/ 392 h 504"/>
                <a:gd name="T26" fmla="*/ 404 w 438"/>
                <a:gd name="T27" fmla="*/ 360 h 504"/>
                <a:gd name="T28" fmla="*/ 421 w 438"/>
                <a:gd name="T29" fmla="*/ 352 h 504"/>
                <a:gd name="T30" fmla="*/ 438 w 438"/>
                <a:gd name="T31" fmla="*/ 312 h 504"/>
                <a:gd name="T32" fmla="*/ 396 w 438"/>
                <a:gd name="T33" fmla="*/ 280 h 504"/>
                <a:gd name="T34" fmla="*/ 379 w 438"/>
                <a:gd name="T35" fmla="*/ 248 h 504"/>
                <a:gd name="T36" fmla="*/ 370 w 438"/>
                <a:gd name="T37" fmla="*/ 216 h 504"/>
                <a:gd name="T38" fmla="*/ 387 w 438"/>
                <a:gd name="T39" fmla="*/ 184 h 504"/>
                <a:gd name="T40" fmla="*/ 370 w 438"/>
                <a:gd name="T41" fmla="*/ 176 h 504"/>
                <a:gd name="T42" fmla="*/ 370 w 438"/>
                <a:gd name="T43" fmla="*/ 136 h 504"/>
                <a:gd name="T44" fmla="*/ 328 w 438"/>
                <a:gd name="T45" fmla="*/ 160 h 504"/>
                <a:gd name="T46" fmla="*/ 286 w 438"/>
                <a:gd name="T47" fmla="*/ 144 h 504"/>
                <a:gd name="T48" fmla="*/ 244 w 438"/>
                <a:gd name="T49" fmla="*/ 136 h 504"/>
                <a:gd name="T50" fmla="*/ 261 w 438"/>
                <a:gd name="T51" fmla="*/ 104 h 504"/>
                <a:gd name="T52" fmla="*/ 219 w 438"/>
                <a:gd name="T53" fmla="*/ 88 h 504"/>
                <a:gd name="T54" fmla="*/ 185 w 438"/>
                <a:gd name="T55" fmla="*/ 64 h 504"/>
                <a:gd name="T56" fmla="*/ 177 w 438"/>
                <a:gd name="T57" fmla="*/ 40 h 504"/>
                <a:gd name="T58" fmla="*/ 143 w 438"/>
                <a:gd name="T59" fmla="*/ 16 h 504"/>
                <a:gd name="T60" fmla="*/ 126 w 438"/>
                <a:gd name="T61" fmla="*/ 0 h 504"/>
                <a:gd name="T62" fmla="*/ 118 w 438"/>
                <a:gd name="T63" fmla="*/ 8 h 504"/>
                <a:gd name="T64" fmla="*/ 67 w 438"/>
                <a:gd name="T65" fmla="*/ 8 h 504"/>
                <a:gd name="T66" fmla="*/ 33 w 438"/>
                <a:gd name="T67" fmla="*/ 24 h 504"/>
                <a:gd name="T68" fmla="*/ 8 w 438"/>
                <a:gd name="T69" fmla="*/ 24 h 504"/>
                <a:gd name="T70" fmla="*/ 0 w 438"/>
                <a:gd name="T71" fmla="*/ 48 h 504"/>
                <a:gd name="T72" fmla="*/ 8 w 438"/>
                <a:gd name="T73" fmla="*/ 80 h 504"/>
                <a:gd name="T74" fmla="*/ 33 w 438"/>
                <a:gd name="T75" fmla="*/ 112 h 504"/>
                <a:gd name="T76" fmla="*/ 59 w 438"/>
                <a:gd name="T77" fmla="*/ 120 h 504"/>
                <a:gd name="T78" fmla="*/ 33 w 438"/>
                <a:gd name="T79" fmla="*/ 128 h 504"/>
                <a:gd name="T80" fmla="*/ 33 w 438"/>
                <a:gd name="T81" fmla="*/ 160 h 504"/>
                <a:gd name="T82" fmla="*/ 8 w 438"/>
                <a:gd name="T83" fmla="*/ 152 h 504"/>
                <a:gd name="T84" fmla="*/ 17 w 438"/>
                <a:gd name="T85" fmla="*/ 168 h 504"/>
                <a:gd name="T86" fmla="*/ 50 w 438"/>
                <a:gd name="T87" fmla="*/ 168 h 504"/>
                <a:gd name="T88" fmla="*/ 50 w 438"/>
                <a:gd name="T89" fmla="*/ 200 h 504"/>
                <a:gd name="T90" fmla="*/ 59 w 438"/>
                <a:gd name="T91" fmla="*/ 232 h 504"/>
                <a:gd name="T92" fmla="*/ 101 w 438"/>
                <a:gd name="T93" fmla="*/ 256 h 504"/>
                <a:gd name="T94" fmla="*/ 75 w 438"/>
                <a:gd name="T95" fmla="*/ 272 h 504"/>
                <a:gd name="T96" fmla="*/ 101 w 438"/>
                <a:gd name="T97" fmla="*/ 312 h 504"/>
                <a:gd name="T98" fmla="*/ 50 w 438"/>
                <a:gd name="T99" fmla="*/ 328 h 504"/>
                <a:gd name="T100" fmla="*/ 59 w 438"/>
                <a:gd name="T101" fmla="*/ 352 h 504"/>
                <a:gd name="T102" fmla="*/ 33 w 438"/>
                <a:gd name="T103" fmla="*/ 352 h 504"/>
                <a:gd name="T104" fmla="*/ 25 w 438"/>
                <a:gd name="T105" fmla="*/ 384 h 504"/>
                <a:gd name="T106" fmla="*/ 0 w 438"/>
                <a:gd name="T107" fmla="*/ 400 h 504"/>
                <a:gd name="T108" fmla="*/ 8 w 438"/>
                <a:gd name="T109" fmla="*/ 416 h 504"/>
                <a:gd name="T110" fmla="*/ 8 w 438"/>
                <a:gd name="T111" fmla="*/ 456 h 504"/>
                <a:gd name="T112" fmla="*/ 17 w 438"/>
                <a:gd name="T113" fmla="*/ 456 h 504"/>
                <a:gd name="T114" fmla="*/ 101 w 438"/>
                <a:gd name="T115" fmla="*/ 504 h 504"/>
                <a:gd name="T116" fmla="*/ 101 w 438"/>
                <a:gd name="T117" fmla="*/ 496 h 504"/>
                <a:gd name="T118" fmla="*/ 126 w 438"/>
                <a:gd name="T119" fmla="*/ 424 h 50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38" h="504">
                  <a:moveTo>
                    <a:pt x="126" y="424"/>
                  </a:moveTo>
                  <a:lnTo>
                    <a:pt x="160" y="440"/>
                  </a:lnTo>
                  <a:lnTo>
                    <a:pt x="185" y="440"/>
                  </a:lnTo>
                  <a:lnTo>
                    <a:pt x="202" y="456"/>
                  </a:lnTo>
                  <a:lnTo>
                    <a:pt x="236" y="496"/>
                  </a:lnTo>
                  <a:lnTo>
                    <a:pt x="252" y="504"/>
                  </a:lnTo>
                  <a:lnTo>
                    <a:pt x="261" y="472"/>
                  </a:lnTo>
                  <a:lnTo>
                    <a:pt x="286" y="464"/>
                  </a:lnTo>
                  <a:lnTo>
                    <a:pt x="311" y="456"/>
                  </a:lnTo>
                  <a:lnTo>
                    <a:pt x="370" y="432"/>
                  </a:lnTo>
                  <a:lnTo>
                    <a:pt x="413" y="432"/>
                  </a:lnTo>
                  <a:lnTo>
                    <a:pt x="421" y="400"/>
                  </a:lnTo>
                  <a:lnTo>
                    <a:pt x="404" y="392"/>
                  </a:lnTo>
                  <a:lnTo>
                    <a:pt x="404" y="360"/>
                  </a:lnTo>
                  <a:lnTo>
                    <a:pt x="421" y="352"/>
                  </a:lnTo>
                  <a:lnTo>
                    <a:pt x="438" y="312"/>
                  </a:lnTo>
                  <a:lnTo>
                    <a:pt x="396" y="280"/>
                  </a:lnTo>
                  <a:lnTo>
                    <a:pt x="379" y="248"/>
                  </a:lnTo>
                  <a:lnTo>
                    <a:pt x="370" y="216"/>
                  </a:lnTo>
                  <a:lnTo>
                    <a:pt x="387" y="184"/>
                  </a:lnTo>
                  <a:lnTo>
                    <a:pt x="370" y="176"/>
                  </a:lnTo>
                  <a:lnTo>
                    <a:pt x="370" y="136"/>
                  </a:lnTo>
                  <a:lnTo>
                    <a:pt x="328" y="160"/>
                  </a:lnTo>
                  <a:lnTo>
                    <a:pt x="286" y="144"/>
                  </a:lnTo>
                  <a:lnTo>
                    <a:pt x="244" y="136"/>
                  </a:lnTo>
                  <a:lnTo>
                    <a:pt x="261" y="104"/>
                  </a:lnTo>
                  <a:lnTo>
                    <a:pt x="219" y="88"/>
                  </a:lnTo>
                  <a:lnTo>
                    <a:pt x="185" y="64"/>
                  </a:lnTo>
                  <a:lnTo>
                    <a:pt x="177" y="40"/>
                  </a:lnTo>
                  <a:lnTo>
                    <a:pt x="143" y="16"/>
                  </a:lnTo>
                  <a:lnTo>
                    <a:pt x="126" y="0"/>
                  </a:lnTo>
                  <a:lnTo>
                    <a:pt x="118" y="8"/>
                  </a:lnTo>
                  <a:lnTo>
                    <a:pt x="67" y="8"/>
                  </a:lnTo>
                  <a:lnTo>
                    <a:pt x="33" y="24"/>
                  </a:lnTo>
                  <a:lnTo>
                    <a:pt x="8" y="24"/>
                  </a:lnTo>
                  <a:lnTo>
                    <a:pt x="0" y="48"/>
                  </a:lnTo>
                  <a:lnTo>
                    <a:pt x="8" y="80"/>
                  </a:lnTo>
                  <a:lnTo>
                    <a:pt x="33" y="112"/>
                  </a:lnTo>
                  <a:lnTo>
                    <a:pt x="59" y="120"/>
                  </a:lnTo>
                  <a:lnTo>
                    <a:pt x="33" y="128"/>
                  </a:lnTo>
                  <a:lnTo>
                    <a:pt x="33" y="160"/>
                  </a:lnTo>
                  <a:lnTo>
                    <a:pt x="8" y="152"/>
                  </a:lnTo>
                  <a:lnTo>
                    <a:pt x="17" y="168"/>
                  </a:lnTo>
                  <a:lnTo>
                    <a:pt x="50" y="168"/>
                  </a:lnTo>
                  <a:lnTo>
                    <a:pt x="50" y="200"/>
                  </a:lnTo>
                  <a:lnTo>
                    <a:pt x="59" y="232"/>
                  </a:lnTo>
                  <a:lnTo>
                    <a:pt x="101" y="256"/>
                  </a:lnTo>
                  <a:lnTo>
                    <a:pt x="75" y="272"/>
                  </a:lnTo>
                  <a:lnTo>
                    <a:pt x="101" y="312"/>
                  </a:lnTo>
                  <a:lnTo>
                    <a:pt x="50" y="328"/>
                  </a:lnTo>
                  <a:lnTo>
                    <a:pt x="59" y="352"/>
                  </a:lnTo>
                  <a:lnTo>
                    <a:pt x="33" y="352"/>
                  </a:lnTo>
                  <a:lnTo>
                    <a:pt x="25" y="384"/>
                  </a:lnTo>
                  <a:lnTo>
                    <a:pt x="0" y="400"/>
                  </a:lnTo>
                  <a:lnTo>
                    <a:pt x="8" y="416"/>
                  </a:lnTo>
                  <a:lnTo>
                    <a:pt x="8" y="456"/>
                  </a:lnTo>
                  <a:lnTo>
                    <a:pt x="17" y="456"/>
                  </a:lnTo>
                  <a:lnTo>
                    <a:pt x="101" y="504"/>
                  </a:lnTo>
                  <a:lnTo>
                    <a:pt x="101" y="496"/>
                  </a:lnTo>
                  <a:lnTo>
                    <a:pt x="126" y="4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13" name="Freeform 67"/>
            <p:cNvSpPr>
              <a:spLocks/>
            </p:cNvSpPr>
            <p:nvPr/>
          </p:nvSpPr>
          <p:spPr bwMode="auto">
            <a:xfrm>
              <a:off x="4376" y="2656"/>
              <a:ext cx="480" cy="232"/>
            </a:xfrm>
            <a:custGeom>
              <a:avLst/>
              <a:gdLst>
                <a:gd name="T0" fmla="*/ 421 w 480"/>
                <a:gd name="T1" fmla="*/ 8 h 232"/>
                <a:gd name="T2" fmla="*/ 396 w 480"/>
                <a:gd name="T3" fmla="*/ 0 h 232"/>
                <a:gd name="T4" fmla="*/ 353 w 480"/>
                <a:gd name="T5" fmla="*/ 0 h 232"/>
                <a:gd name="T6" fmla="*/ 328 w 480"/>
                <a:gd name="T7" fmla="*/ 16 h 232"/>
                <a:gd name="T8" fmla="*/ 294 w 480"/>
                <a:gd name="T9" fmla="*/ 16 h 232"/>
                <a:gd name="T10" fmla="*/ 269 w 480"/>
                <a:gd name="T11" fmla="*/ 40 h 232"/>
                <a:gd name="T12" fmla="*/ 244 w 480"/>
                <a:gd name="T13" fmla="*/ 40 h 232"/>
                <a:gd name="T14" fmla="*/ 236 w 480"/>
                <a:gd name="T15" fmla="*/ 24 h 232"/>
                <a:gd name="T16" fmla="*/ 210 w 480"/>
                <a:gd name="T17" fmla="*/ 0 h 232"/>
                <a:gd name="T18" fmla="*/ 177 w 480"/>
                <a:gd name="T19" fmla="*/ 24 h 232"/>
                <a:gd name="T20" fmla="*/ 168 w 480"/>
                <a:gd name="T21" fmla="*/ 24 h 232"/>
                <a:gd name="T22" fmla="*/ 151 w 480"/>
                <a:gd name="T23" fmla="*/ 16 h 232"/>
                <a:gd name="T24" fmla="*/ 126 w 480"/>
                <a:gd name="T25" fmla="*/ 32 h 232"/>
                <a:gd name="T26" fmla="*/ 101 w 480"/>
                <a:gd name="T27" fmla="*/ 56 h 232"/>
                <a:gd name="T28" fmla="*/ 67 w 480"/>
                <a:gd name="T29" fmla="*/ 104 h 232"/>
                <a:gd name="T30" fmla="*/ 25 w 480"/>
                <a:gd name="T31" fmla="*/ 104 h 232"/>
                <a:gd name="T32" fmla="*/ 0 w 480"/>
                <a:gd name="T33" fmla="*/ 136 h 232"/>
                <a:gd name="T34" fmla="*/ 0 w 480"/>
                <a:gd name="T35" fmla="*/ 176 h 232"/>
                <a:gd name="T36" fmla="*/ 33 w 480"/>
                <a:gd name="T37" fmla="*/ 200 h 232"/>
                <a:gd name="T38" fmla="*/ 25 w 480"/>
                <a:gd name="T39" fmla="*/ 208 h 232"/>
                <a:gd name="T40" fmla="*/ 42 w 480"/>
                <a:gd name="T41" fmla="*/ 216 h 232"/>
                <a:gd name="T42" fmla="*/ 67 w 480"/>
                <a:gd name="T43" fmla="*/ 232 h 232"/>
                <a:gd name="T44" fmla="*/ 185 w 480"/>
                <a:gd name="T45" fmla="*/ 216 h 232"/>
                <a:gd name="T46" fmla="*/ 185 w 480"/>
                <a:gd name="T47" fmla="*/ 184 h 232"/>
                <a:gd name="T48" fmla="*/ 236 w 480"/>
                <a:gd name="T49" fmla="*/ 168 h 232"/>
                <a:gd name="T50" fmla="*/ 244 w 480"/>
                <a:gd name="T51" fmla="*/ 152 h 232"/>
                <a:gd name="T52" fmla="*/ 286 w 480"/>
                <a:gd name="T53" fmla="*/ 160 h 232"/>
                <a:gd name="T54" fmla="*/ 328 w 480"/>
                <a:gd name="T55" fmla="*/ 112 h 232"/>
                <a:gd name="T56" fmla="*/ 362 w 480"/>
                <a:gd name="T57" fmla="*/ 112 h 232"/>
                <a:gd name="T58" fmla="*/ 404 w 480"/>
                <a:gd name="T59" fmla="*/ 104 h 232"/>
                <a:gd name="T60" fmla="*/ 404 w 480"/>
                <a:gd name="T61" fmla="*/ 104 h 232"/>
                <a:gd name="T62" fmla="*/ 412 w 480"/>
                <a:gd name="T63" fmla="*/ 104 h 232"/>
                <a:gd name="T64" fmla="*/ 438 w 480"/>
                <a:gd name="T65" fmla="*/ 112 h 232"/>
                <a:gd name="T66" fmla="*/ 455 w 480"/>
                <a:gd name="T67" fmla="*/ 112 h 232"/>
                <a:gd name="T68" fmla="*/ 463 w 480"/>
                <a:gd name="T69" fmla="*/ 64 h 232"/>
                <a:gd name="T70" fmla="*/ 480 w 480"/>
                <a:gd name="T71" fmla="*/ 16 h 232"/>
                <a:gd name="T72" fmla="*/ 421 w 480"/>
                <a:gd name="T73" fmla="*/ 8 h 23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480" h="232">
                  <a:moveTo>
                    <a:pt x="421" y="8"/>
                  </a:moveTo>
                  <a:lnTo>
                    <a:pt x="396" y="0"/>
                  </a:lnTo>
                  <a:lnTo>
                    <a:pt x="353" y="0"/>
                  </a:lnTo>
                  <a:lnTo>
                    <a:pt x="328" y="16"/>
                  </a:lnTo>
                  <a:lnTo>
                    <a:pt x="294" y="16"/>
                  </a:lnTo>
                  <a:lnTo>
                    <a:pt x="269" y="40"/>
                  </a:lnTo>
                  <a:lnTo>
                    <a:pt x="244" y="40"/>
                  </a:lnTo>
                  <a:lnTo>
                    <a:pt x="236" y="24"/>
                  </a:lnTo>
                  <a:lnTo>
                    <a:pt x="210" y="0"/>
                  </a:lnTo>
                  <a:lnTo>
                    <a:pt x="177" y="24"/>
                  </a:lnTo>
                  <a:lnTo>
                    <a:pt x="168" y="24"/>
                  </a:lnTo>
                  <a:lnTo>
                    <a:pt x="151" y="16"/>
                  </a:lnTo>
                  <a:lnTo>
                    <a:pt x="126" y="32"/>
                  </a:lnTo>
                  <a:lnTo>
                    <a:pt x="101" y="56"/>
                  </a:lnTo>
                  <a:lnTo>
                    <a:pt x="67" y="104"/>
                  </a:lnTo>
                  <a:lnTo>
                    <a:pt x="25" y="104"/>
                  </a:lnTo>
                  <a:lnTo>
                    <a:pt x="0" y="136"/>
                  </a:lnTo>
                  <a:lnTo>
                    <a:pt x="0" y="176"/>
                  </a:lnTo>
                  <a:lnTo>
                    <a:pt x="33" y="200"/>
                  </a:lnTo>
                  <a:lnTo>
                    <a:pt x="25" y="208"/>
                  </a:lnTo>
                  <a:lnTo>
                    <a:pt x="42" y="216"/>
                  </a:lnTo>
                  <a:lnTo>
                    <a:pt x="67" y="232"/>
                  </a:lnTo>
                  <a:lnTo>
                    <a:pt x="185" y="216"/>
                  </a:lnTo>
                  <a:lnTo>
                    <a:pt x="185" y="184"/>
                  </a:lnTo>
                  <a:lnTo>
                    <a:pt x="236" y="168"/>
                  </a:lnTo>
                  <a:lnTo>
                    <a:pt x="244" y="152"/>
                  </a:lnTo>
                  <a:lnTo>
                    <a:pt x="286" y="160"/>
                  </a:lnTo>
                  <a:lnTo>
                    <a:pt x="328" y="112"/>
                  </a:lnTo>
                  <a:lnTo>
                    <a:pt x="362" y="112"/>
                  </a:lnTo>
                  <a:lnTo>
                    <a:pt x="404" y="104"/>
                  </a:lnTo>
                  <a:lnTo>
                    <a:pt x="412" y="104"/>
                  </a:lnTo>
                  <a:lnTo>
                    <a:pt x="438" y="112"/>
                  </a:lnTo>
                  <a:lnTo>
                    <a:pt x="455" y="112"/>
                  </a:lnTo>
                  <a:lnTo>
                    <a:pt x="463" y="64"/>
                  </a:lnTo>
                  <a:lnTo>
                    <a:pt x="480" y="16"/>
                  </a:lnTo>
                  <a:lnTo>
                    <a:pt x="421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14" name="Freeform 68"/>
            <p:cNvSpPr>
              <a:spLocks/>
            </p:cNvSpPr>
            <p:nvPr/>
          </p:nvSpPr>
          <p:spPr bwMode="auto">
            <a:xfrm>
              <a:off x="4595" y="3056"/>
              <a:ext cx="438" cy="504"/>
            </a:xfrm>
            <a:custGeom>
              <a:avLst/>
              <a:gdLst>
                <a:gd name="T0" fmla="*/ 126 w 438"/>
                <a:gd name="T1" fmla="*/ 424 h 504"/>
                <a:gd name="T2" fmla="*/ 160 w 438"/>
                <a:gd name="T3" fmla="*/ 440 h 504"/>
                <a:gd name="T4" fmla="*/ 185 w 438"/>
                <a:gd name="T5" fmla="*/ 440 h 504"/>
                <a:gd name="T6" fmla="*/ 202 w 438"/>
                <a:gd name="T7" fmla="*/ 456 h 504"/>
                <a:gd name="T8" fmla="*/ 236 w 438"/>
                <a:gd name="T9" fmla="*/ 496 h 504"/>
                <a:gd name="T10" fmla="*/ 252 w 438"/>
                <a:gd name="T11" fmla="*/ 504 h 504"/>
                <a:gd name="T12" fmla="*/ 261 w 438"/>
                <a:gd name="T13" fmla="*/ 472 h 504"/>
                <a:gd name="T14" fmla="*/ 286 w 438"/>
                <a:gd name="T15" fmla="*/ 464 h 504"/>
                <a:gd name="T16" fmla="*/ 311 w 438"/>
                <a:gd name="T17" fmla="*/ 456 h 504"/>
                <a:gd name="T18" fmla="*/ 370 w 438"/>
                <a:gd name="T19" fmla="*/ 432 h 504"/>
                <a:gd name="T20" fmla="*/ 413 w 438"/>
                <a:gd name="T21" fmla="*/ 432 h 504"/>
                <a:gd name="T22" fmla="*/ 421 w 438"/>
                <a:gd name="T23" fmla="*/ 400 h 504"/>
                <a:gd name="T24" fmla="*/ 404 w 438"/>
                <a:gd name="T25" fmla="*/ 392 h 504"/>
                <a:gd name="T26" fmla="*/ 404 w 438"/>
                <a:gd name="T27" fmla="*/ 360 h 504"/>
                <a:gd name="T28" fmla="*/ 421 w 438"/>
                <a:gd name="T29" fmla="*/ 352 h 504"/>
                <a:gd name="T30" fmla="*/ 438 w 438"/>
                <a:gd name="T31" fmla="*/ 312 h 504"/>
                <a:gd name="T32" fmla="*/ 396 w 438"/>
                <a:gd name="T33" fmla="*/ 280 h 504"/>
                <a:gd name="T34" fmla="*/ 379 w 438"/>
                <a:gd name="T35" fmla="*/ 248 h 504"/>
                <a:gd name="T36" fmla="*/ 370 w 438"/>
                <a:gd name="T37" fmla="*/ 216 h 504"/>
                <a:gd name="T38" fmla="*/ 387 w 438"/>
                <a:gd name="T39" fmla="*/ 184 h 504"/>
                <a:gd name="T40" fmla="*/ 370 w 438"/>
                <a:gd name="T41" fmla="*/ 176 h 504"/>
                <a:gd name="T42" fmla="*/ 370 w 438"/>
                <a:gd name="T43" fmla="*/ 136 h 504"/>
                <a:gd name="T44" fmla="*/ 328 w 438"/>
                <a:gd name="T45" fmla="*/ 160 h 504"/>
                <a:gd name="T46" fmla="*/ 286 w 438"/>
                <a:gd name="T47" fmla="*/ 144 h 504"/>
                <a:gd name="T48" fmla="*/ 244 w 438"/>
                <a:gd name="T49" fmla="*/ 136 h 504"/>
                <a:gd name="T50" fmla="*/ 261 w 438"/>
                <a:gd name="T51" fmla="*/ 104 h 504"/>
                <a:gd name="T52" fmla="*/ 219 w 438"/>
                <a:gd name="T53" fmla="*/ 88 h 504"/>
                <a:gd name="T54" fmla="*/ 185 w 438"/>
                <a:gd name="T55" fmla="*/ 64 h 504"/>
                <a:gd name="T56" fmla="*/ 177 w 438"/>
                <a:gd name="T57" fmla="*/ 40 h 504"/>
                <a:gd name="T58" fmla="*/ 143 w 438"/>
                <a:gd name="T59" fmla="*/ 16 h 504"/>
                <a:gd name="T60" fmla="*/ 126 w 438"/>
                <a:gd name="T61" fmla="*/ 0 h 504"/>
                <a:gd name="T62" fmla="*/ 118 w 438"/>
                <a:gd name="T63" fmla="*/ 8 h 504"/>
                <a:gd name="T64" fmla="*/ 67 w 438"/>
                <a:gd name="T65" fmla="*/ 8 h 504"/>
                <a:gd name="T66" fmla="*/ 33 w 438"/>
                <a:gd name="T67" fmla="*/ 24 h 504"/>
                <a:gd name="T68" fmla="*/ 8 w 438"/>
                <a:gd name="T69" fmla="*/ 24 h 504"/>
                <a:gd name="T70" fmla="*/ 0 w 438"/>
                <a:gd name="T71" fmla="*/ 48 h 504"/>
                <a:gd name="T72" fmla="*/ 8 w 438"/>
                <a:gd name="T73" fmla="*/ 80 h 504"/>
                <a:gd name="T74" fmla="*/ 33 w 438"/>
                <a:gd name="T75" fmla="*/ 112 h 504"/>
                <a:gd name="T76" fmla="*/ 59 w 438"/>
                <a:gd name="T77" fmla="*/ 120 h 504"/>
                <a:gd name="T78" fmla="*/ 33 w 438"/>
                <a:gd name="T79" fmla="*/ 128 h 504"/>
                <a:gd name="T80" fmla="*/ 33 w 438"/>
                <a:gd name="T81" fmla="*/ 160 h 504"/>
                <a:gd name="T82" fmla="*/ 8 w 438"/>
                <a:gd name="T83" fmla="*/ 152 h 504"/>
                <a:gd name="T84" fmla="*/ 17 w 438"/>
                <a:gd name="T85" fmla="*/ 168 h 504"/>
                <a:gd name="T86" fmla="*/ 50 w 438"/>
                <a:gd name="T87" fmla="*/ 168 h 504"/>
                <a:gd name="T88" fmla="*/ 50 w 438"/>
                <a:gd name="T89" fmla="*/ 200 h 504"/>
                <a:gd name="T90" fmla="*/ 59 w 438"/>
                <a:gd name="T91" fmla="*/ 232 h 504"/>
                <a:gd name="T92" fmla="*/ 101 w 438"/>
                <a:gd name="T93" fmla="*/ 256 h 504"/>
                <a:gd name="T94" fmla="*/ 75 w 438"/>
                <a:gd name="T95" fmla="*/ 272 h 504"/>
                <a:gd name="T96" fmla="*/ 101 w 438"/>
                <a:gd name="T97" fmla="*/ 312 h 504"/>
                <a:gd name="T98" fmla="*/ 50 w 438"/>
                <a:gd name="T99" fmla="*/ 328 h 504"/>
                <a:gd name="T100" fmla="*/ 59 w 438"/>
                <a:gd name="T101" fmla="*/ 352 h 504"/>
                <a:gd name="T102" fmla="*/ 33 w 438"/>
                <a:gd name="T103" fmla="*/ 352 h 504"/>
                <a:gd name="T104" fmla="*/ 25 w 438"/>
                <a:gd name="T105" fmla="*/ 384 h 504"/>
                <a:gd name="T106" fmla="*/ 0 w 438"/>
                <a:gd name="T107" fmla="*/ 400 h 504"/>
                <a:gd name="T108" fmla="*/ 8 w 438"/>
                <a:gd name="T109" fmla="*/ 416 h 504"/>
                <a:gd name="T110" fmla="*/ 8 w 438"/>
                <a:gd name="T111" fmla="*/ 456 h 504"/>
                <a:gd name="T112" fmla="*/ 17 w 438"/>
                <a:gd name="T113" fmla="*/ 456 h 504"/>
                <a:gd name="T114" fmla="*/ 101 w 438"/>
                <a:gd name="T115" fmla="*/ 504 h 504"/>
                <a:gd name="T116" fmla="*/ 101 w 438"/>
                <a:gd name="T117" fmla="*/ 496 h 504"/>
                <a:gd name="T118" fmla="*/ 126 w 438"/>
                <a:gd name="T119" fmla="*/ 424 h 50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38" h="504">
                  <a:moveTo>
                    <a:pt x="126" y="424"/>
                  </a:moveTo>
                  <a:lnTo>
                    <a:pt x="160" y="440"/>
                  </a:lnTo>
                  <a:lnTo>
                    <a:pt x="185" y="440"/>
                  </a:lnTo>
                  <a:lnTo>
                    <a:pt x="202" y="456"/>
                  </a:lnTo>
                  <a:lnTo>
                    <a:pt x="236" y="496"/>
                  </a:lnTo>
                  <a:lnTo>
                    <a:pt x="252" y="504"/>
                  </a:lnTo>
                  <a:lnTo>
                    <a:pt x="261" y="472"/>
                  </a:lnTo>
                  <a:lnTo>
                    <a:pt x="286" y="464"/>
                  </a:lnTo>
                  <a:lnTo>
                    <a:pt x="311" y="456"/>
                  </a:lnTo>
                  <a:lnTo>
                    <a:pt x="370" y="432"/>
                  </a:lnTo>
                  <a:lnTo>
                    <a:pt x="413" y="432"/>
                  </a:lnTo>
                  <a:lnTo>
                    <a:pt x="421" y="400"/>
                  </a:lnTo>
                  <a:lnTo>
                    <a:pt x="404" y="392"/>
                  </a:lnTo>
                  <a:lnTo>
                    <a:pt x="404" y="360"/>
                  </a:lnTo>
                  <a:lnTo>
                    <a:pt x="421" y="352"/>
                  </a:lnTo>
                  <a:lnTo>
                    <a:pt x="438" y="312"/>
                  </a:lnTo>
                  <a:lnTo>
                    <a:pt x="396" y="280"/>
                  </a:lnTo>
                  <a:lnTo>
                    <a:pt x="379" y="248"/>
                  </a:lnTo>
                  <a:lnTo>
                    <a:pt x="370" y="216"/>
                  </a:lnTo>
                  <a:lnTo>
                    <a:pt x="387" y="184"/>
                  </a:lnTo>
                  <a:lnTo>
                    <a:pt x="370" y="176"/>
                  </a:lnTo>
                  <a:lnTo>
                    <a:pt x="370" y="136"/>
                  </a:lnTo>
                  <a:lnTo>
                    <a:pt x="328" y="160"/>
                  </a:lnTo>
                  <a:lnTo>
                    <a:pt x="286" y="144"/>
                  </a:lnTo>
                  <a:lnTo>
                    <a:pt x="244" y="136"/>
                  </a:lnTo>
                  <a:lnTo>
                    <a:pt x="261" y="104"/>
                  </a:lnTo>
                  <a:lnTo>
                    <a:pt x="219" y="88"/>
                  </a:lnTo>
                  <a:lnTo>
                    <a:pt x="185" y="64"/>
                  </a:lnTo>
                  <a:lnTo>
                    <a:pt x="177" y="40"/>
                  </a:lnTo>
                  <a:lnTo>
                    <a:pt x="143" y="16"/>
                  </a:lnTo>
                  <a:lnTo>
                    <a:pt x="126" y="0"/>
                  </a:lnTo>
                  <a:lnTo>
                    <a:pt x="118" y="8"/>
                  </a:lnTo>
                  <a:lnTo>
                    <a:pt x="67" y="8"/>
                  </a:lnTo>
                  <a:lnTo>
                    <a:pt x="33" y="24"/>
                  </a:lnTo>
                  <a:lnTo>
                    <a:pt x="8" y="24"/>
                  </a:lnTo>
                  <a:lnTo>
                    <a:pt x="0" y="48"/>
                  </a:lnTo>
                  <a:lnTo>
                    <a:pt x="8" y="80"/>
                  </a:lnTo>
                  <a:lnTo>
                    <a:pt x="33" y="112"/>
                  </a:lnTo>
                  <a:lnTo>
                    <a:pt x="59" y="120"/>
                  </a:lnTo>
                  <a:lnTo>
                    <a:pt x="33" y="128"/>
                  </a:lnTo>
                  <a:lnTo>
                    <a:pt x="33" y="160"/>
                  </a:lnTo>
                  <a:lnTo>
                    <a:pt x="8" y="152"/>
                  </a:lnTo>
                  <a:lnTo>
                    <a:pt x="17" y="168"/>
                  </a:lnTo>
                  <a:lnTo>
                    <a:pt x="50" y="168"/>
                  </a:lnTo>
                  <a:lnTo>
                    <a:pt x="50" y="200"/>
                  </a:lnTo>
                  <a:lnTo>
                    <a:pt x="59" y="232"/>
                  </a:lnTo>
                  <a:lnTo>
                    <a:pt x="101" y="256"/>
                  </a:lnTo>
                  <a:lnTo>
                    <a:pt x="75" y="272"/>
                  </a:lnTo>
                  <a:lnTo>
                    <a:pt x="101" y="312"/>
                  </a:lnTo>
                  <a:lnTo>
                    <a:pt x="50" y="328"/>
                  </a:lnTo>
                  <a:lnTo>
                    <a:pt x="59" y="352"/>
                  </a:lnTo>
                  <a:lnTo>
                    <a:pt x="33" y="352"/>
                  </a:lnTo>
                  <a:lnTo>
                    <a:pt x="25" y="384"/>
                  </a:lnTo>
                  <a:lnTo>
                    <a:pt x="0" y="400"/>
                  </a:lnTo>
                  <a:lnTo>
                    <a:pt x="8" y="416"/>
                  </a:lnTo>
                  <a:lnTo>
                    <a:pt x="8" y="456"/>
                  </a:lnTo>
                  <a:lnTo>
                    <a:pt x="17" y="456"/>
                  </a:lnTo>
                  <a:lnTo>
                    <a:pt x="101" y="504"/>
                  </a:lnTo>
                  <a:lnTo>
                    <a:pt x="101" y="496"/>
                  </a:lnTo>
                  <a:lnTo>
                    <a:pt x="126" y="4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15" name="Freeform 69"/>
            <p:cNvSpPr>
              <a:spLocks/>
            </p:cNvSpPr>
            <p:nvPr/>
          </p:nvSpPr>
          <p:spPr bwMode="auto">
            <a:xfrm>
              <a:off x="4696" y="3480"/>
              <a:ext cx="210" cy="352"/>
            </a:xfrm>
            <a:custGeom>
              <a:avLst/>
              <a:gdLst>
                <a:gd name="T0" fmla="*/ 151 w 210"/>
                <a:gd name="T1" fmla="*/ 304 h 352"/>
                <a:gd name="T2" fmla="*/ 185 w 210"/>
                <a:gd name="T3" fmla="*/ 288 h 352"/>
                <a:gd name="T4" fmla="*/ 185 w 210"/>
                <a:gd name="T5" fmla="*/ 248 h 352"/>
                <a:gd name="T6" fmla="*/ 210 w 210"/>
                <a:gd name="T7" fmla="*/ 232 h 352"/>
                <a:gd name="T8" fmla="*/ 194 w 210"/>
                <a:gd name="T9" fmla="*/ 192 h 352"/>
                <a:gd name="T10" fmla="*/ 168 w 210"/>
                <a:gd name="T11" fmla="*/ 184 h 352"/>
                <a:gd name="T12" fmla="*/ 143 w 210"/>
                <a:gd name="T13" fmla="*/ 152 h 352"/>
                <a:gd name="T14" fmla="*/ 135 w 210"/>
                <a:gd name="T15" fmla="*/ 96 h 352"/>
                <a:gd name="T16" fmla="*/ 135 w 210"/>
                <a:gd name="T17" fmla="*/ 72 h 352"/>
                <a:gd name="T18" fmla="*/ 101 w 210"/>
                <a:gd name="T19" fmla="*/ 32 h 352"/>
                <a:gd name="T20" fmla="*/ 84 w 210"/>
                <a:gd name="T21" fmla="*/ 16 h 352"/>
                <a:gd name="T22" fmla="*/ 59 w 210"/>
                <a:gd name="T23" fmla="*/ 16 h 352"/>
                <a:gd name="T24" fmla="*/ 25 w 210"/>
                <a:gd name="T25" fmla="*/ 0 h 352"/>
                <a:gd name="T26" fmla="*/ 0 w 210"/>
                <a:gd name="T27" fmla="*/ 72 h 352"/>
                <a:gd name="T28" fmla="*/ 0 w 210"/>
                <a:gd name="T29" fmla="*/ 80 h 352"/>
                <a:gd name="T30" fmla="*/ 17 w 210"/>
                <a:gd name="T31" fmla="*/ 88 h 352"/>
                <a:gd name="T32" fmla="*/ 33 w 210"/>
                <a:gd name="T33" fmla="*/ 104 h 352"/>
                <a:gd name="T34" fmla="*/ 33 w 210"/>
                <a:gd name="T35" fmla="*/ 120 h 352"/>
                <a:gd name="T36" fmla="*/ 33 w 210"/>
                <a:gd name="T37" fmla="*/ 160 h 352"/>
                <a:gd name="T38" fmla="*/ 42 w 210"/>
                <a:gd name="T39" fmla="*/ 248 h 352"/>
                <a:gd name="T40" fmla="*/ 67 w 210"/>
                <a:gd name="T41" fmla="*/ 288 h 352"/>
                <a:gd name="T42" fmla="*/ 109 w 210"/>
                <a:gd name="T43" fmla="*/ 320 h 352"/>
                <a:gd name="T44" fmla="*/ 135 w 210"/>
                <a:gd name="T45" fmla="*/ 352 h 352"/>
                <a:gd name="T46" fmla="*/ 151 w 210"/>
                <a:gd name="T47" fmla="*/ 344 h 352"/>
                <a:gd name="T48" fmla="*/ 151 w 210"/>
                <a:gd name="T49" fmla="*/ 304 h 35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10" h="352">
                  <a:moveTo>
                    <a:pt x="151" y="304"/>
                  </a:moveTo>
                  <a:lnTo>
                    <a:pt x="185" y="288"/>
                  </a:lnTo>
                  <a:lnTo>
                    <a:pt x="185" y="248"/>
                  </a:lnTo>
                  <a:lnTo>
                    <a:pt x="210" y="232"/>
                  </a:lnTo>
                  <a:lnTo>
                    <a:pt x="194" y="192"/>
                  </a:lnTo>
                  <a:lnTo>
                    <a:pt x="168" y="184"/>
                  </a:lnTo>
                  <a:lnTo>
                    <a:pt x="143" y="152"/>
                  </a:lnTo>
                  <a:lnTo>
                    <a:pt x="135" y="96"/>
                  </a:lnTo>
                  <a:lnTo>
                    <a:pt x="135" y="72"/>
                  </a:lnTo>
                  <a:lnTo>
                    <a:pt x="101" y="32"/>
                  </a:lnTo>
                  <a:lnTo>
                    <a:pt x="84" y="16"/>
                  </a:lnTo>
                  <a:lnTo>
                    <a:pt x="59" y="16"/>
                  </a:lnTo>
                  <a:lnTo>
                    <a:pt x="25" y="0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17" y="88"/>
                  </a:lnTo>
                  <a:lnTo>
                    <a:pt x="33" y="104"/>
                  </a:lnTo>
                  <a:lnTo>
                    <a:pt x="33" y="120"/>
                  </a:lnTo>
                  <a:lnTo>
                    <a:pt x="33" y="160"/>
                  </a:lnTo>
                  <a:lnTo>
                    <a:pt x="42" y="248"/>
                  </a:lnTo>
                  <a:lnTo>
                    <a:pt x="67" y="288"/>
                  </a:lnTo>
                  <a:lnTo>
                    <a:pt x="109" y="320"/>
                  </a:lnTo>
                  <a:lnTo>
                    <a:pt x="135" y="352"/>
                  </a:lnTo>
                  <a:lnTo>
                    <a:pt x="151" y="344"/>
                  </a:lnTo>
                  <a:lnTo>
                    <a:pt x="151" y="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16" name="Freeform 70"/>
            <p:cNvSpPr>
              <a:spLocks/>
            </p:cNvSpPr>
            <p:nvPr/>
          </p:nvSpPr>
          <p:spPr bwMode="auto">
            <a:xfrm>
              <a:off x="4831" y="3480"/>
              <a:ext cx="606" cy="704"/>
            </a:xfrm>
            <a:custGeom>
              <a:avLst/>
              <a:gdLst>
                <a:gd name="T0" fmla="*/ 606 w 606"/>
                <a:gd name="T1" fmla="*/ 24 h 704"/>
                <a:gd name="T2" fmla="*/ 556 w 606"/>
                <a:gd name="T3" fmla="*/ 0 h 704"/>
                <a:gd name="T4" fmla="*/ 530 w 606"/>
                <a:gd name="T5" fmla="*/ 56 h 704"/>
                <a:gd name="T6" fmla="*/ 446 w 606"/>
                <a:gd name="T7" fmla="*/ 72 h 704"/>
                <a:gd name="T8" fmla="*/ 379 w 606"/>
                <a:gd name="T9" fmla="*/ 56 h 704"/>
                <a:gd name="T10" fmla="*/ 286 w 606"/>
                <a:gd name="T11" fmla="*/ 104 h 704"/>
                <a:gd name="T12" fmla="*/ 236 w 606"/>
                <a:gd name="T13" fmla="*/ 136 h 704"/>
                <a:gd name="T14" fmla="*/ 134 w 606"/>
                <a:gd name="T15" fmla="*/ 184 h 704"/>
                <a:gd name="T16" fmla="*/ 75 w 606"/>
                <a:gd name="T17" fmla="*/ 200 h 704"/>
                <a:gd name="T18" fmla="*/ 75 w 606"/>
                <a:gd name="T19" fmla="*/ 232 h 704"/>
                <a:gd name="T20" fmla="*/ 50 w 606"/>
                <a:gd name="T21" fmla="*/ 288 h 704"/>
                <a:gd name="T22" fmla="*/ 16 w 606"/>
                <a:gd name="T23" fmla="*/ 344 h 704"/>
                <a:gd name="T24" fmla="*/ 33 w 606"/>
                <a:gd name="T25" fmla="*/ 392 h 704"/>
                <a:gd name="T26" fmla="*/ 59 w 606"/>
                <a:gd name="T27" fmla="*/ 464 h 704"/>
                <a:gd name="T28" fmla="*/ 118 w 606"/>
                <a:gd name="T29" fmla="*/ 480 h 704"/>
                <a:gd name="T30" fmla="*/ 286 w 606"/>
                <a:gd name="T31" fmla="*/ 472 h 704"/>
                <a:gd name="T32" fmla="*/ 337 w 606"/>
                <a:gd name="T33" fmla="*/ 496 h 704"/>
                <a:gd name="T34" fmla="*/ 294 w 606"/>
                <a:gd name="T35" fmla="*/ 512 h 704"/>
                <a:gd name="T36" fmla="*/ 210 w 606"/>
                <a:gd name="T37" fmla="*/ 488 h 704"/>
                <a:gd name="T38" fmla="*/ 160 w 606"/>
                <a:gd name="T39" fmla="*/ 512 h 704"/>
                <a:gd name="T40" fmla="*/ 160 w 606"/>
                <a:gd name="T41" fmla="*/ 568 h 704"/>
                <a:gd name="T42" fmla="*/ 202 w 606"/>
                <a:gd name="T43" fmla="*/ 592 h 704"/>
                <a:gd name="T44" fmla="*/ 236 w 606"/>
                <a:gd name="T45" fmla="*/ 672 h 704"/>
                <a:gd name="T46" fmla="*/ 278 w 606"/>
                <a:gd name="T47" fmla="*/ 656 h 704"/>
                <a:gd name="T48" fmla="*/ 337 w 606"/>
                <a:gd name="T49" fmla="*/ 656 h 704"/>
                <a:gd name="T50" fmla="*/ 328 w 606"/>
                <a:gd name="T51" fmla="*/ 568 h 704"/>
                <a:gd name="T52" fmla="*/ 370 w 606"/>
                <a:gd name="T53" fmla="*/ 584 h 704"/>
                <a:gd name="T54" fmla="*/ 387 w 606"/>
                <a:gd name="T55" fmla="*/ 576 h 704"/>
                <a:gd name="T56" fmla="*/ 353 w 606"/>
                <a:gd name="T57" fmla="*/ 528 h 704"/>
                <a:gd name="T58" fmla="*/ 455 w 606"/>
                <a:gd name="T59" fmla="*/ 528 h 704"/>
                <a:gd name="T60" fmla="*/ 438 w 606"/>
                <a:gd name="T61" fmla="*/ 464 h 704"/>
                <a:gd name="T62" fmla="*/ 438 w 606"/>
                <a:gd name="T63" fmla="*/ 448 h 704"/>
                <a:gd name="T64" fmla="*/ 480 w 606"/>
                <a:gd name="T65" fmla="*/ 480 h 704"/>
                <a:gd name="T66" fmla="*/ 463 w 606"/>
                <a:gd name="T67" fmla="*/ 440 h 704"/>
                <a:gd name="T68" fmla="*/ 353 w 606"/>
                <a:gd name="T69" fmla="*/ 384 h 704"/>
                <a:gd name="T70" fmla="*/ 337 w 606"/>
                <a:gd name="T71" fmla="*/ 400 h 704"/>
                <a:gd name="T72" fmla="*/ 311 w 606"/>
                <a:gd name="T73" fmla="*/ 408 h 704"/>
                <a:gd name="T74" fmla="*/ 294 w 606"/>
                <a:gd name="T75" fmla="*/ 376 h 704"/>
                <a:gd name="T76" fmla="*/ 337 w 606"/>
                <a:gd name="T77" fmla="*/ 360 h 704"/>
                <a:gd name="T78" fmla="*/ 320 w 606"/>
                <a:gd name="T79" fmla="*/ 320 h 704"/>
                <a:gd name="T80" fmla="*/ 236 w 606"/>
                <a:gd name="T81" fmla="*/ 240 h 704"/>
                <a:gd name="T82" fmla="*/ 261 w 606"/>
                <a:gd name="T83" fmla="*/ 200 h 704"/>
                <a:gd name="T84" fmla="*/ 294 w 606"/>
                <a:gd name="T85" fmla="*/ 232 h 704"/>
                <a:gd name="T86" fmla="*/ 337 w 606"/>
                <a:gd name="T87" fmla="*/ 264 h 704"/>
                <a:gd name="T88" fmla="*/ 362 w 606"/>
                <a:gd name="T89" fmla="*/ 208 h 704"/>
                <a:gd name="T90" fmla="*/ 387 w 606"/>
                <a:gd name="T91" fmla="*/ 144 h 704"/>
                <a:gd name="T92" fmla="*/ 497 w 606"/>
                <a:gd name="T93" fmla="*/ 112 h 704"/>
                <a:gd name="T94" fmla="*/ 564 w 606"/>
                <a:gd name="T95" fmla="*/ 112 h 704"/>
                <a:gd name="T96" fmla="*/ 598 w 606"/>
                <a:gd name="T97" fmla="*/ 96 h 7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606" h="704">
                  <a:moveTo>
                    <a:pt x="589" y="72"/>
                  </a:moveTo>
                  <a:lnTo>
                    <a:pt x="606" y="24"/>
                  </a:lnTo>
                  <a:lnTo>
                    <a:pt x="581" y="0"/>
                  </a:lnTo>
                  <a:lnTo>
                    <a:pt x="556" y="0"/>
                  </a:lnTo>
                  <a:lnTo>
                    <a:pt x="564" y="40"/>
                  </a:lnTo>
                  <a:lnTo>
                    <a:pt x="530" y="56"/>
                  </a:lnTo>
                  <a:lnTo>
                    <a:pt x="471" y="72"/>
                  </a:lnTo>
                  <a:lnTo>
                    <a:pt x="446" y="72"/>
                  </a:lnTo>
                  <a:lnTo>
                    <a:pt x="412" y="72"/>
                  </a:lnTo>
                  <a:lnTo>
                    <a:pt x="379" y="56"/>
                  </a:lnTo>
                  <a:lnTo>
                    <a:pt x="328" y="88"/>
                  </a:lnTo>
                  <a:lnTo>
                    <a:pt x="286" y="104"/>
                  </a:lnTo>
                  <a:lnTo>
                    <a:pt x="244" y="104"/>
                  </a:lnTo>
                  <a:lnTo>
                    <a:pt x="236" y="136"/>
                  </a:lnTo>
                  <a:lnTo>
                    <a:pt x="168" y="144"/>
                  </a:lnTo>
                  <a:lnTo>
                    <a:pt x="134" y="184"/>
                  </a:lnTo>
                  <a:lnTo>
                    <a:pt x="109" y="184"/>
                  </a:lnTo>
                  <a:lnTo>
                    <a:pt x="75" y="200"/>
                  </a:lnTo>
                  <a:lnTo>
                    <a:pt x="67" y="200"/>
                  </a:lnTo>
                  <a:lnTo>
                    <a:pt x="75" y="232"/>
                  </a:lnTo>
                  <a:lnTo>
                    <a:pt x="50" y="248"/>
                  </a:lnTo>
                  <a:lnTo>
                    <a:pt x="50" y="288"/>
                  </a:lnTo>
                  <a:lnTo>
                    <a:pt x="16" y="304"/>
                  </a:lnTo>
                  <a:lnTo>
                    <a:pt x="16" y="344"/>
                  </a:lnTo>
                  <a:lnTo>
                    <a:pt x="0" y="352"/>
                  </a:lnTo>
                  <a:lnTo>
                    <a:pt x="33" y="392"/>
                  </a:lnTo>
                  <a:lnTo>
                    <a:pt x="75" y="424"/>
                  </a:lnTo>
                  <a:lnTo>
                    <a:pt x="59" y="464"/>
                  </a:lnTo>
                  <a:lnTo>
                    <a:pt x="92" y="464"/>
                  </a:lnTo>
                  <a:lnTo>
                    <a:pt x="118" y="480"/>
                  </a:lnTo>
                  <a:lnTo>
                    <a:pt x="202" y="480"/>
                  </a:lnTo>
                  <a:lnTo>
                    <a:pt x="286" y="472"/>
                  </a:lnTo>
                  <a:lnTo>
                    <a:pt x="362" y="480"/>
                  </a:lnTo>
                  <a:lnTo>
                    <a:pt x="337" y="496"/>
                  </a:lnTo>
                  <a:lnTo>
                    <a:pt x="328" y="512"/>
                  </a:lnTo>
                  <a:lnTo>
                    <a:pt x="294" y="512"/>
                  </a:lnTo>
                  <a:lnTo>
                    <a:pt x="261" y="504"/>
                  </a:lnTo>
                  <a:lnTo>
                    <a:pt x="210" y="488"/>
                  </a:lnTo>
                  <a:lnTo>
                    <a:pt x="185" y="504"/>
                  </a:lnTo>
                  <a:lnTo>
                    <a:pt x="160" y="512"/>
                  </a:lnTo>
                  <a:lnTo>
                    <a:pt x="134" y="552"/>
                  </a:lnTo>
                  <a:lnTo>
                    <a:pt x="160" y="568"/>
                  </a:lnTo>
                  <a:lnTo>
                    <a:pt x="185" y="584"/>
                  </a:lnTo>
                  <a:lnTo>
                    <a:pt x="202" y="592"/>
                  </a:lnTo>
                  <a:lnTo>
                    <a:pt x="210" y="624"/>
                  </a:lnTo>
                  <a:lnTo>
                    <a:pt x="236" y="672"/>
                  </a:lnTo>
                  <a:lnTo>
                    <a:pt x="252" y="648"/>
                  </a:lnTo>
                  <a:lnTo>
                    <a:pt x="278" y="656"/>
                  </a:lnTo>
                  <a:lnTo>
                    <a:pt x="311" y="704"/>
                  </a:lnTo>
                  <a:lnTo>
                    <a:pt x="337" y="656"/>
                  </a:lnTo>
                  <a:lnTo>
                    <a:pt x="396" y="688"/>
                  </a:lnTo>
                  <a:lnTo>
                    <a:pt x="328" y="568"/>
                  </a:lnTo>
                  <a:lnTo>
                    <a:pt x="353" y="576"/>
                  </a:lnTo>
                  <a:lnTo>
                    <a:pt x="370" y="584"/>
                  </a:lnTo>
                  <a:lnTo>
                    <a:pt x="370" y="600"/>
                  </a:lnTo>
                  <a:lnTo>
                    <a:pt x="387" y="576"/>
                  </a:lnTo>
                  <a:lnTo>
                    <a:pt x="412" y="560"/>
                  </a:lnTo>
                  <a:lnTo>
                    <a:pt x="353" y="528"/>
                  </a:lnTo>
                  <a:lnTo>
                    <a:pt x="404" y="512"/>
                  </a:lnTo>
                  <a:lnTo>
                    <a:pt x="455" y="528"/>
                  </a:lnTo>
                  <a:lnTo>
                    <a:pt x="446" y="488"/>
                  </a:lnTo>
                  <a:lnTo>
                    <a:pt x="438" y="464"/>
                  </a:lnTo>
                  <a:lnTo>
                    <a:pt x="412" y="448"/>
                  </a:lnTo>
                  <a:lnTo>
                    <a:pt x="438" y="448"/>
                  </a:lnTo>
                  <a:lnTo>
                    <a:pt x="455" y="464"/>
                  </a:lnTo>
                  <a:lnTo>
                    <a:pt x="480" y="480"/>
                  </a:lnTo>
                  <a:lnTo>
                    <a:pt x="514" y="472"/>
                  </a:lnTo>
                  <a:lnTo>
                    <a:pt x="463" y="440"/>
                  </a:lnTo>
                  <a:lnTo>
                    <a:pt x="421" y="408"/>
                  </a:lnTo>
                  <a:lnTo>
                    <a:pt x="353" y="384"/>
                  </a:lnTo>
                  <a:lnTo>
                    <a:pt x="337" y="384"/>
                  </a:lnTo>
                  <a:lnTo>
                    <a:pt x="337" y="400"/>
                  </a:lnTo>
                  <a:lnTo>
                    <a:pt x="345" y="416"/>
                  </a:lnTo>
                  <a:lnTo>
                    <a:pt x="311" y="408"/>
                  </a:lnTo>
                  <a:lnTo>
                    <a:pt x="294" y="400"/>
                  </a:lnTo>
                  <a:lnTo>
                    <a:pt x="294" y="376"/>
                  </a:lnTo>
                  <a:lnTo>
                    <a:pt x="294" y="352"/>
                  </a:lnTo>
                  <a:lnTo>
                    <a:pt x="337" y="360"/>
                  </a:lnTo>
                  <a:lnTo>
                    <a:pt x="337" y="336"/>
                  </a:lnTo>
                  <a:lnTo>
                    <a:pt x="320" y="320"/>
                  </a:lnTo>
                  <a:lnTo>
                    <a:pt x="269" y="288"/>
                  </a:lnTo>
                  <a:lnTo>
                    <a:pt x="236" y="240"/>
                  </a:lnTo>
                  <a:lnTo>
                    <a:pt x="244" y="224"/>
                  </a:lnTo>
                  <a:lnTo>
                    <a:pt x="261" y="200"/>
                  </a:lnTo>
                  <a:lnTo>
                    <a:pt x="269" y="224"/>
                  </a:lnTo>
                  <a:lnTo>
                    <a:pt x="294" y="232"/>
                  </a:lnTo>
                  <a:lnTo>
                    <a:pt x="320" y="240"/>
                  </a:lnTo>
                  <a:lnTo>
                    <a:pt x="337" y="264"/>
                  </a:lnTo>
                  <a:lnTo>
                    <a:pt x="337" y="232"/>
                  </a:lnTo>
                  <a:lnTo>
                    <a:pt x="362" y="208"/>
                  </a:lnTo>
                  <a:lnTo>
                    <a:pt x="370" y="160"/>
                  </a:lnTo>
                  <a:lnTo>
                    <a:pt x="387" y="144"/>
                  </a:lnTo>
                  <a:lnTo>
                    <a:pt x="412" y="136"/>
                  </a:lnTo>
                  <a:lnTo>
                    <a:pt x="497" y="112"/>
                  </a:lnTo>
                  <a:lnTo>
                    <a:pt x="539" y="112"/>
                  </a:lnTo>
                  <a:lnTo>
                    <a:pt x="564" y="112"/>
                  </a:lnTo>
                  <a:lnTo>
                    <a:pt x="573" y="128"/>
                  </a:lnTo>
                  <a:lnTo>
                    <a:pt x="598" y="96"/>
                  </a:lnTo>
                  <a:lnTo>
                    <a:pt x="589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17" name="Freeform 71"/>
            <p:cNvSpPr>
              <a:spLocks/>
            </p:cNvSpPr>
            <p:nvPr/>
          </p:nvSpPr>
          <p:spPr bwMode="auto">
            <a:xfrm>
              <a:off x="4696" y="3480"/>
              <a:ext cx="210" cy="352"/>
            </a:xfrm>
            <a:custGeom>
              <a:avLst/>
              <a:gdLst>
                <a:gd name="T0" fmla="*/ 151 w 210"/>
                <a:gd name="T1" fmla="*/ 304 h 352"/>
                <a:gd name="T2" fmla="*/ 185 w 210"/>
                <a:gd name="T3" fmla="*/ 288 h 352"/>
                <a:gd name="T4" fmla="*/ 185 w 210"/>
                <a:gd name="T5" fmla="*/ 248 h 352"/>
                <a:gd name="T6" fmla="*/ 210 w 210"/>
                <a:gd name="T7" fmla="*/ 232 h 352"/>
                <a:gd name="T8" fmla="*/ 194 w 210"/>
                <a:gd name="T9" fmla="*/ 192 h 352"/>
                <a:gd name="T10" fmla="*/ 168 w 210"/>
                <a:gd name="T11" fmla="*/ 184 h 352"/>
                <a:gd name="T12" fmla="*/ 143 w 210"/>
                <a:gd name="T13" fmla="*/ 152 h 352"/>
                <a:gd name="T14" fmla="*/ 135 w 210"/>
                <a:gd name="T15" fmla="*/ 96 h 352"/>
                <a:gd name="T16" fmla="*/ 135 w 210"/>
                <a:gd name="T17" fmla="*/ 72 h 352"/>
                <a:gd name="T18" fmla="*/ 135 w 210"/>
                <a:gd name="T19" fmla="*/ 72 h 352"/>
                <a:gd name="T20" fmla="*/ 101 w 210"/>
                <a:gd name="T21" fmla="*/ 32 h 352"/>
                <a:gd name="T22" fmla="*/ 84 w 210"/>
                <a:gd name="T23" fmla="*/ 16 h 352"/>
                <a:gd name="T24" fmla="*/ 59 w 210"/>
                <a:gd name="T25" fmla="*/ 16 h 352"/>
                <a:gd name="T26" fmla="*/ 25 w 210"/>
                <a:gd name="T27" fmla="*/ 0 h 352"/>
                <a:gd name="T28" fmla="*/ 0 w 210"/>
                <a:gd name="T29" fmla="*/ 72 h 352"/>
                <a:gd name="T30" fmla="*/ 0 w 210"/>
                <a:gd name="T31" fmla="*/ 80 h 352"/>
                <a:gd name="T32" fmla="*/ 17 w 210"/>
                <a:gd name="T33" fmla="*/ 88 h 352"/>
                <a:gd name="T34" fmla="*/ 33 w 210"/>
                <a:gd name="T35" fmla="*/ 104 h 352"/>
                <a:gd name="T36" fmla="*/ 33 w 210"/>
                <a:gd name="T37" fmla="*/ 120 h 352"/>
                <a:gd name="T38" fmla="*/ 33 w 210"/>
                <a:gd name="T39" fmla="*/ 160 h 352"/>
                <a:gd name="T40" fmla="*/ 42 w 210"/>
                <a:gd name="T41" fmla="*/ 248 h 352"/>
                <a:gd name="T42" fmla="*/ 67 w 210"/>
                <a:gd name="T43" fmla="*/ 288 h 352"/>
                <a:gd name="T44" fmla="*/ 109 w 210"/>
                <a:gd name="T45" fmla="*/ 320 h 352"/>
                <a:gd name="T46" fmla="*/ 135 w 210"/>
                <a:gd name="T47" fmla="*/ 352 h 352"/>
                <a:gd name="T48" fmla="*/ 151 w 210"/>
                <a:gd name="T49" fmla="*/ 344 h 352"/>
                <a:gd name="T50" fmla="*/ 151 w 210"/>
                <a:gd name="T51" fmla="*/ 304 h 3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10" h="352">
                  <a:moveTo>
                    <a:pt x="151" y="304"/>
                  </a:moveTo>
                  <a:lnTo>
                    <a:pt x="185" y="288"/>
                  </a:lnTo>
                  <a:lnTo>
                    <a:pt x="185" y="248"/>
                  </a:lnTo>
                  <a:lnTo>
                    <a:pt x="210" y="232"/>
                  </a:lnTo>
                  <a:lnTo>
                    <a:pt x="194" y="192"/>
                  </a:lnTo>
                  <a:lnTo>
                    <a:pt x="168" y="184"/>
                  </a:lnTo>
                  <a:lnTo>
                    <a:pt x="143" y="152"/>
                  </a:lnTo>
                  <a:lnTo>
                    <a:pt x="135" y="96"/>
                  </a:lnTo>
                  <a:lnTo>
                    <a:pt x="135" y="72"/>
                  </a:lnTo>
                  <a:lnTo>
                    <a:pt x="101" y="32"/>
                  </a:lnTo>
                  <a:lnTo>
                    <a:pt x="84" y="16"/>
                  </a:lnTo>
                  <a:lnTo>
                    <a:pt x="59" y="16"/>
                  </a:lnTo>
                  <a:lnTo>
                    <a:pt x="25" y="0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17" y="88"/>
                  </a:lnTo>
                  <a:lnTo>
                    <a:pt x="33" y="104"/>
                  </a:lnTo>
                  <a:lnTo>
                    <a:pt x="33" y="120"/>
                  </a:lnTo>
                  <a:lnTo>
                    <a:pt x="33" y="160"/>
                  </a:lnTo>
                  <a:lnTo>
                    <a:pt x="42" y="248"/>
                  </a:lnTo>
                  <a:lnTo>
                    <a:pt x="67" y="288"/>
                  </a:lnTo>
                  <a:lnTo>
                    <a:pt x="109" y="320"/>
                  </a:lnTo>
                  <a:lnTo>
                    <a:pt x="135" y="352"/>
                  </a:lnTo>
                  <a:lnTo>
                    <a:pt x="151" y="344"/>
                  </a:lnTo>
                  <a:lnTo>
                    <a:pt x="151" y="3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18" name="Freeform 72"/>
            <p:cNvSpPr>
              <a:spLocks/>
            </p:cNvSpPr>
            <p:nvPr/>
          </p:nvSpPr>
          <p:spPr bwMode="auto">
            <a:xfrm>
              <a:off x="4831" y="3480"/>
              <a:ext cx="606" cy="704"/>
            </a:xfrm>
            <a:custGeom>
              <a:avLst/>
              <a:gdLst>
                <a:gd name="T0" fmla="*/ 606 w 606"/>
                <a:gd name="T1" fmla="*/ 24 h 704"/>
                <a:gd name="T2" fmla="*/ 556 w 606"/>
                <a:gd name="T3" fmla="*/ 0 h 704"/>
                <a:gd name="T4" fmla="*/ 530 w 606"/>
                <a:gd name="T5" fmla="*/ 56 h 704"/>
                <a:gd name="T6" fmla="*/ 446 w 606"/>
                <a:gd name="T7" fmla="*/ 72 h 704"/>
                <a:gd name="T8" fmla="*/ 379 w 606"/>
                <a:gd name="T9" fmla="*/ 56 h 704"/>
                <a:gd name="T10" fmla="*/ 286 w 606"/>
                <a:gd name="T11" fmla="*/ 104 h 704"/>
                <a:gd name="T12" fmla="*/ 236 w 606"/>
                <a:gd name="T13" fmla="*/ 136 h 704"/>
                <a:gd name="T14" fmla="*/ 134 w 606"/>
                <a:gd name="T15" fmla="*/ 184 h 704"/>
                <a:gd name="T16" fmla="*/ 75 w 606"/>
                <a:gd name="T17" fmla="*/ 200 h 704"/>
                <a:gd name="T18" fmla="*/ 75 w 606"/>
                <a:gd name="T19" fmla="*/ 232 h 704"/>
                <a:gd name="T20" fmla="*/ 50 w 606"/>
                <a:gd name="T21" fmla="*/ 288 h 704"/>
                <a:gd name="T22" fmla="*/ 16 w 606"/>
                <a:gd name="T23" fmla="*/ 344 h 704"/>
                <a:gd name="T24" fmla="*/ 33 w 606"/>
                <a:gd name="T25" fmla="*/ 392 h 704"/>
                <a:gd name="T26" fmla="*/ 59 w 606"/>
                <a:gd name="T27" fmla="*/ 464 h 704"/>
                <a:gd name="T28" fmla="*/ 118 w 606"/>
                <a:gd name="T29" fmla="*/ 480 h 704"/>
                <a:gd name="T30" fmla="*/ 286 w 606"/>
                <a:gd name="T31" fmla="*/ 472 h 704"/>
                <a:gd name="T32" fmla="*/ 337 w 606"/>
                <a:gd name="T33" fmla="*/ 496 h 704"/>
                <a:gd name="T34" fmla="*/ 294 w 606"/>
                <a:gd name="T35" fmla="*/ 512 h 704"/>
                <a:gd name="T36" fmla="*/ 210 w 606"/>
                <a:gd name="T37" fmla="*/ 488 h 704"/>
                <a:gd name="T38" fmla="*/ 160 w 606"/>
                <a:gd name="T39" fmla="*/ 512 h 704"/>
                <a:gd name="T40" fmla="*/ 160 w 606"/>
                <a:gd name="T41" fmla="*/ 568 h 704"/>
                <a:gd name="T42" fmla="*/ 202 w 606"/>
                <a:gd name="T43" fmla="*/ 592 h 704"/>
                <a:gd name="T44" fmla="*/ 236 w 606"/>
                <a:gd name="T45" fmla="*/ 672 h 704"/>
                <a:gd name="T46" fmla="*/ 278 w 606"/>
                <a:gd name="T47" fmla="*/ 656 h 704"/>
                <a:gd name="T48" fmla="*/ 337 w 606"/>
                <a:gd name="T49" fmla="*/ 656 h 704"/>
                <a:gd name="T50" fmla="*/ 328 w 606"/>
                <a:gd name="T51" fmla="*/ 568 h 704"/>
                <a:gd name="T52" fmla="*/ 370 w 606"/>
                <a:gd name="T53" fmla="*/ 584 h 704"/>
                <a:gd name="T54" fmla="*/ 387 w 606"/>
                <a:gd name="T55" fmla="*/ 576 h 704"/>
                <a:gd name="T56" fmla="*/ 353 w 606"/>
                <a:gd name="T57" fmla="*/ 528 h 704"/>
                <a:gd name="T58" fmla="*/ 455 w 606"/>
                <a:gd name="T59" fmla="*/ 528 h 704"/>
                <a:gd name="T60" fmla="*/ 438 w 606"/>
                <a:gd name="T61" fmla="*/ 464 h 704"/>
                <a:gd name="T62" fmla="*/ 438 w 606"/>
                <a:gd name="T63" fmla="*/ 448 h 704"/>
                <a:gd name="T64" fmla="*/ 480 w 606"/>
                <a:gd name="T65" fmla="*/ 480 h 704"/>
                <a:gd name="T66" fmla="*/ 463 w 606"/>
                <a:gd name="T67" fmla="*/ 440 h 704"/>
                <a:gd name="T68" fmla="*/ 353 w 606"/>
                <a:gd name="T69" fmla="*/ 384 h 704"/>
                <a:gd name="T70" fmla="*/ 337 w 606"/>
                <a:gd name="T71" fmla="*/ 400 h 704"/>
                <a:gd name="T72" fmla="*/ 311 w 606"/>
                <a:gd name="T73" fmla="*/ 408 h 704"/>
                <a:gd name="T74" fmla="*/ 294 w 606"/>
                <a:gd name="T75" fmla="*/ 376 h 704"/>
                <a:gd name="T76" fmla="*/ 337 w 606"/>
                <a:gd name="T77" fmla="*/ 360 h 704"/>
                <a:gd name="T78" fmla="*/ 320 w 606"/>
                <a:gd name="T79" fmla="*/ 320 h 704"/>
                <a:gd name="T80" fmla="*/ 236 w 606"/>
                <a:gd name="T81" fmla="*/ 240 h 704"/>
                <a:gd name="T82" fmla="*/ 261 w 606"/>
                <a:gd name="T83" fmla="*/ 200 h 704"/>
                <a:gd name="T84" fmla="*/ 294 w 606"/>
                <a:gd name="T85" fmla="*/ 232 h 704"/>
                <a:gd name="T86" fmla="*/ 337 w 606"/>
                <a:gd name="T87" fmla="*/ 264 h 704"/>
                <a:gd name="T88" fmla="*/ 362 w 606"/>
                <a:gd name="T89" fmla="*/ 208 h 704"/>
                <a:gd name="T90" fmla="*/ 387 w 606"/>
                <a:gd name="T91" fmla="*/ 144 h 704"/>
                <a:gd name="T92" fmla="*/ 497 w 606"/>
                <a:gd name="T93" fmla="*/ 112 h 704"/>
                <a:gd name="T94" fmla="*/ 564 w 606"/>
                <a:gd name="T95" fmla="*/ 112 h 704"/>
                <a:gd name="T96" fmla="*/ 598 w 606"/>
                <a:gd name="T97" fmla="*/ 96 h 7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606" h="704">
                  <a:moveTo>
                    <a:pt x="589" y="72"/>
                  </a:moveTo>
                  <a:lnTo>
                    <a:pt x="606" y="24"/>
                  </a:lnTo>
                  <a:lnTo>
                    <a:pt x="581" y="0"/>
                  </a:lnTo>
                  <a:lnTo>
                    <a:pt x="556" y="0"/>
                  </a:lnTo>
                  <a:lnTo>
                    <a:pt x="564" y="40"/>
                  </a:lnTo>
                  <a:lnTo>
                    <a:pt x="530" y="56"/>
                  </a:lnTo>
                  <a:lnTo>
                    <a:pt x="471" y="72"/>
                  </a:lnTo>
                  <a:lnTo>
                    <a:pt x="446" y="72"/>
                  </a:lnTo>
                  <a:lnTo>
                    <a:pt x="412" y="72"/>
                  </a:lnTo>
                  <a:lnTo>
                    <a:pt x="379" y="56"/>
                  </a:lnTo>
                  <a:lnTo>
                    <a:pt x="328" y="88"/>
                  </a:lnTo>
                  <a:lnTo>
                    <a:pt x="286" y="104"/>
                  </a:lnTo>
                  <a:lnTo>
                    <a:pt x="244" y="104"/>
                  </a:lnTo>
                  <a:lnTo>
                    <a:pt x="236" y="136"/>
                  </a:lnTo>
                  <a:lnTo>
                    <a:pt x="168" y="144"/>
                  </a:lnTo>
                  <a:lnTo>
                    <a:pt x="134" y="184"/>
                  </a:lnTo>
                  <a:lnTo>
                    <a:pt x="109" y="184"/>
                  </a:lnTo>
                  <a:lnTo>
                    <a:pt x="75" y="200"/>
                  </a:lnTo>
                  <a:lnTo>
                    <a:pt x="67" y="200"/>
                  </a:lnTo>
                  <a:lnTo>
                    <a:pt x="75" y="232"/>
                  </a:lnTo>
                  <a:lnTo>
                    <a:pt x="50" y="248"/>
                  </a:lnTo>
                  <a:lnTo>
                    <a:pt x="50" y="288"/>
                  </a:lnTo>
                  <a:lnTo>
                    <a:pt x="16" y="304"/>
                  </a:lnTo>
                  <a:lnTo>
                    <a:pt x="16" y="344"/>
                  </a:lnTo>
                  <a:lnTo>
                    <a:pt x="0" y="352"/>
                  </a:lnTo>
                  <a:lnTo>
                    <a:pt x="33" y="392"/>
                  </a:lnTo>
                  <a:lnTo>
                    <a:pt x="75" y="424"/>
                  </a:lnTo>
                  <a:lnTo>
                    <a:pt x="59" y="464"/>
                  </a:lnTo>
                  <a:lnTo>
                    <a:pt x="92" y="464"/>
                  </a:lnTo>
                  <a:lnTo>
                    <a:pt x="118" y="480"/>
                  </a:lnTo>
                  <a:lnTo>
                    <a:pt x="202" y="480"/>
                  </a:lnTo>
                  <a:lnTo>
                    <a:pt x="286" y="472"/>
                  </a:lnTo>
                  <a:lnTo>
                    <a:pt x="362" y="480"/>
                  </a:lnTo>
                  <a:lnTo>
                    <a:pt x="337" y="496"/>
                  </a:lnTo>
                  <a:lnTo>
                    <a:pt x="328" y="512"/>
                  </a:lnTo>
                  <a:lnTo>
                    <a:pt x="294" y="512"/>
                  </a:lnTo>
                  <a:lnTo>
                    <a:pt x="261" y="504"/>
                  </a:lnTo>
                  <a:lnTo>
                    <a:pt x="210" y="488"/>
                  </a:lnTo>
                  <a:lnTo>
                    <a:pt x="185" y="504"/>
                  </a:lnTo>
                  <a:lnTo>
                    <a:pt x="160" y="512"/>
                  </a:lnTo>
                  <a:lnTo>
                    <a:pt x="134" y="552"/>
                  </a:lnTo>
                  <a:lnTo>
                    <a:pt x="160" y="568"/>
                  </a:lnTo>
                  <a:lnTo>
                    <a:pt x="185" y="584"/>
                  </a:lnTo>
                  <a:lnTo>
                    <a:pt x="202" y="592"/>
                  </a:lnTo>
                  <a:lnTo>
                    <a:pt x="210" y="624"/>
                  </a:lnTo>
                  <a:lnTo>
                    <a:pt x="236" y="672"/>
                  </a:lnTo>
                  <a:lnTo>
                    <a:pt x="252" y="648"/>
                  </a:lnTo>
                  <a:lnTo>
                    <a:pt x="278" y="656"/>
                  </a:lnTo>
                  <a:lnTo>
                    <a:pt x="311" y="704"/>
                  </a:lnTo>
                  <a:lnTo>
                    <a:pt x="337" y="656"/>
                  </a:lnTo>
                  <a:lnTo>
                    <a:pt x="396" y="688"/>
                  </a:lnTo>
                  <a:lnTo>
                    <a:pt x="328" y="568"/>
                  </a:lnTo>
                  <a:lnTo>
                    <a:pt x="353" y="576"/>
                  </a:lnTo>
                  <a:lnTo>
                    <a:pt x="370" y="584"/>
                  </a:lnTo>
                  <a:lnTo>
                    <a:pt x="370" y="600"/>
                  </a:lnTo>
                  <a:lnTo>
                    <a:pt x="387" y="576"/>
                  </a:lnTo>
                  <a:lnTo>
                    <a:pt x="412" y="560"/>
                  </a:lnTo>
                  <a:lnTo>
                    <a:pt x="353" y="528"/>
                  </a:lnTo>
                  <a:lnTo>
                    <a:pt x="404" y="512"/>
                  </a:lnTo>
                  <a:lnTo>
                    <a:pt x="455" y="528"/>
                  </a:lnTo>
                  <a:lnTo>
                    <a:pt x="446" y="488"/>
                  </a:lnTo>
                  <a:lnTo>
                    <a:pt x="438" y="464"/>
                  </a:lnTo>
                  <a:lnTo>
                    <a:pt x="412" y="448"/>
                  </a:lnTo>
                  <a:lnTo>
                    <a:pt x="438" y="448"/>
                  </a:lnTo>
                  <a:lnTo>
                    <a:pt x="455" y="464"/>
                  </a:lnTo>
                  <a:lnTo>
                    <a:pt x="480" y="480"/>
                  </a:lnTo>
                  <a:lnTo>
                    <a:pt x="514" y="472"/>
                  </a:lnTo>
                  <a:lnTo>
                    <a:pt x="463" y="440"/>
                  </a:lnTo>
                  <a:lnTo>
                    <a:pt x="421" y="408"/>
                  </a:lnTo>
                  <a:lnTo>
                    <a:pt x="353" y="384"/>
                  </a:lnTo>
                  <a:lnTo>
                    <a:pt x="337" y="384"/>
                  </a:lnTo>
                  <a:lnTo>
                    <a:pt x="337" y="400"/>
                  </a:lnTo>
                  <a:lnTo>
                    <a:pt x="345" y="416"/>
                  </a:lnTo>
                  <a:lnTo>
                    <a:pt x="311" y="408"/>
                  </a:lnTo>
                  <a:lnTo>
                    <a:pt x="294" y="400"/>
                  </a:lnTo>
                  <a:lnTo>
                    <a:pt x="294" y="376"/>
                  </a:lnTo>
                  <a:lnTo>
                    <a:pt x="294" y="352"/>
                  </a:lnTo>
                  <a:lnTo>
                    <a:pt x="337" y="360"/>
                  </a:lnTo>
                  <a:lnTo>
                    <a:pt x="337" y="336"/>
                  </a:lnTo>
                  <a:lnTo>
                    <a:pt x="320" y="320"/>
                  </a:lnTo>
                  <a:lnTo>
                    <a:pt x="269" y="288"/>
                  </a:lnTo>
                  <a:lnTo>
                    <a:pt x="236" y="240"/>
                  </a:lnTo>
                  <a:lnTo>
                    <a:pt x="244" y="224"/>
                  </a:lnTo>
                  <a:lnTo>
                    <a:pt x="261" y="200"/>
                  </a:lnTo>
                  <a:lnTo>
                    <a:pt x="269" y="224"/>
                  </a:lnTo>
                  <a:lnTo>
                    <a:pt x="294" y="232"/>
                  </a:lnTo>
                  <a:lnTo>
                    <a:pt x="320" y="240"/>
                  </a:lnTo>
                  <a:lnTo>
                    <a:pt x="337" y="264"/>
                  </a:lnTo>
                  <a:lnTo>
                    <a:pt x="337" y="232"/>
                  </a:lnTo>
                  <a:lnTo>
                    <a:pt x="362" y="208"/>
                  </a:lnTo>
                  <a:lnTo>
                    <a:pt x="370" y="160"/>
                  </a:lnTo>
                  <a:lnTo>
                    <a:pt x="387" y="144"/>
                  </a:lnTo>
                  <a:lnTo>
                    <a:pt x="412" y="136"/>
                  </a:lnTo>
                  <a:lnTo>
                    <a:pt x="497" y="112"/>
                  </a:lnTo>
                  <a:lnTo>
                    <a:pt x="539" y="112"/>
                  </a:lnTo>
                  <a:lnTo>
                    <a:pt x="564" y="112"/>
                  </a:lnTo>
                  <a:lnTo>
                    <a:pt x="573" y="128"/>
                  </a:lnTo>
                  <a:lnTo>
                    <a:pt x="598" y="96"/>
                  </a:lnTo>
                  <a:lnTo>
                    <a:pt x="589" y="7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19" name="Freeform 73"/>
            <p:cNvSpPr>
              <a:spLocks/>
            </p:cNvSpPr>
            <p:nvPr/>
          </p:nvSpPr>
          <p:spPr bwMode="auto">
            <a:xfrm>
              <a:off x="4831" y="3488"/>
              <a:ext cx="244" cy="192"/>
            </a:xfrm>
            <a:custGeom>
              <a:avLst/>
              <a:gdLst>
                <a:gd name="T0" fmla="*/ 227 w 244"/>
                <a:gd name="T1" fmla="*/ 32 h 192"/>
                <a:gd name="T2" fmla="*/ 185 w 244"/>
                <a:gd name="T3" fmla="*/ 16 h 192"/>
                <a:gd name="T4" fmla="*/ 177 w 244"/>
                <a:gd name="T5" fmla="*/ 0 h 192"/>
                <a:gd name="T6" fmla="*/ 134 w 244"/>
                <a:gd name="T7" fmla="*/ 0 h 192"/>
                <a:gd name="T8" fmla="*/ 75 w 244"/>
                <a:gd name="T9" fmla="*/ 24 h 192"/>
                <a:gd name="T10" fmla="*/ 50 w 244"/>
                <a:gd name="T11" fmla="*/ 32 h 192"/>
                <a:gd name="T12" fmla="*/ 25 w 244"/>
                <a:gd name="T13" fmla="*/ 40 h 192"/>
                <a:gd name="T14" fmla="*/ 16 w 244"/>
                <a:gd name="T15" fmla="*/ 72 h 192"/>
                <a:gd name="T16" fmla="*/ 0 w 244"/>
                <a:gd name="T17" fmla="*/ 64 h 192"/>
                <a:gd name="T18" fmla="*/ 0 w 244"/>
                <a:gd name="T19" fmla="*/ 88 h 192"/>
                <a:gd name="T20" fmla="*/ 8 w 244"/>
                <a:gd name="T21" fmla="*/ 144 h 192"/>
                <a:gd name="T22" fmla="*/ 33 w 244"/>
                <a:gd name="T23" fmla="*/ 176 h 192"/>
                <a:gd name="T24" fmla="*/ 59 w 244"/>
                <a:gd name="T25" fmla="*/ 184 h 192"/>
                <a:gd name="T26" fmla="*/ 67 w 244"/>
                <a:gd name="T27" fmla="*/ 192 h 192"/>
                <a:gd name="T28" fmla="*/ 75 w 244"/>
                <a:gd name="T29" fmla="*/ 192 h 192"/>
                <a:gd name="T30" fmla="*/ 109 w 244"/>
                <a:gd name="T31" fmla="*/ 176 h 192"/>
                <a:gd name="T32" fmla="*/ 134 w 244"/>
                <a:gd name="T33" fmla="*/ 176 h 192"/>
                <a:gd name="T34" fmla="*/ 168 w 244"/>
                <a:gd name="T35" fmla="*/ 136 h 192"/>
                <a:gd name="T36" fmla="*/ 236 w 244"/>
                <a:gd name="T37" fmla="*/ 128 h 192"/>
                <a:gd name="T38" fmla="*/ 244 w 244"/>
                <a:gd name="T39" fmla="*/ 104 h 192"/>
                <a:gd name="T40" fmla="*/ 244 w 244"/>
                <a:gd name="T41" fmla="*/ 64 h 192"/>
                <a:gd name="T42" fmla="*/ 227 w 244"/>
                <a:gd name="T43" fmla="*/ 32 h 19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44" h="192">
                  <a:moveTo>
                    <a:pt x="227" y="32"/>
                  </a:moveTo>
                  <a:lnTo>
                    <a:pt x="185" y="16"/>
                  </a:lnTo>
                  <a:lnTo>
                    <a:pt x="177" y="0"/>
                  </a:lnTo>
                  <a:lnTo>
                    <a:pt x="134" y="0"/>
                  </a:lnTo>
                  <a:lnTo>
                    <a:pt x="75" y="24"/>
                  </a:lnTo>
                  <a:lnTo>
                    <a:pt x="50" y="32"/>
                  </a:lnTo>
                  <a:lnTo>
                    <a:pt x="25" y="40"/>
                  </a:lnTo>
                  <a:lnTo>
                    <a:pt x="16" y="72"/>
                  </a:lnTo>
                  <a:lnTo>
                    <a:pt x="0" y="64"/>
                  </a:lnTo>
                  <a:lnTo>
                    <a:pt x="0" y="88"/>
                  </a:lnTo>
                  <a:lnTo>
                    <a:pt x="8" y="144"/>
                  </a:lnTo>
                  <a:lnTo>
                    <a:pt x="33" y="176"/>
                  </a:lnTo>
                  <a:lnTo>
                    <a:pt x="59" y="184"/>
                  </a:lnTo>
                  <a:lnTo>
                    <a:pt x="67" y="192"/>
                  </a:lnTo>
                  <a:lnTo>
                    <a:pt x="75" y="192"/>
                  </a:lnTo>
                  <a:lnTo>
                    <a:pt x="109" y="176"/>
                  </a:lnTo>
                  <a:lnTo>
                    <a:pt x="134" y="176"/>
                  </a:lnTo>
                  <a:lnTo>
                    <a:pt x="168" y="136"/>
                  </a:lnTo>
                  <a:lnTo>
                    <a:pt x="236" y="128"/>
                  </a:lnTo>
                  <a:lnTo>
                    <a:pt x="244" y="104"/>
                  </a:lnTo>
                  <a:lnTo>
                    <a:pt x="244" y="64"/>
                  </a:lnTo>
                  <a:lnTo>
                    <a:pt x="227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20" name="Freeform 74"/>
            <p:cNvSpPr>
              <a:spLocks/>
            </p:cNvSpPr>
            <p:nvPr/>
          </p:nvSpPr>
          <p:spPr bwMode="auto">
            <a:xfrm>
              <a:off x="4965" y="3184"/>
              <a:ext cx="590" cy="408"/>
            </a:xfrm>
            <a:custGeom>
              <a:avLst/>
              <a:gdLst>
                <a:gd name="T0" fmla="*/ 455 w 590"/>
                <a:gd name="T1" fmla="*/ 256 h 408"/>
                <a:gd name="T2" fmla="*/ 489 w 590"/>
                <a:gd name="T3" fmla="*/ 248 h 408"/>
                <a:gd name="T4" fmla="*/ 514 w 590"/>
                <a:gd name="T5" fmla="*/ 232 h 408"/>
                <a:gd name="T6" fmla="*/ 565 w 590"/>
                <a:gd name="T7" fmla="*/ 240 h 408"/>
                <a:gd name="T8" fmla="*/ 590 w 590"/>
                <a:gd name="T9" fmla="*/ 232 h 408"/>
                <a:gd name="T10" fmla="*/ 565 w 590"/>
                <a:gd name="T11" fmla="*/ 200 h 408"/>
                <a:gd name="T12" fmla="*/ 523 w 590"/>
                <a:gd name="T13" fmla="*/ 176 h 408"/>
                <a:gd name="T14" fmla="*/ 548 w 590"/>
                <a:gd name="T15" fmla="*/ 144 h 408"/>
                <a:gd name="T16" fmla="*/ 548 w 590"/>
                <a:gd name="T17" fmla="*/ 104 h 408"/>
                <a:gd name="T18" fmla="*/ 548 w 590"/>
                <a:gd name="T19" fmla="*/ 72 h 408"/>
                <a:gd name="T20" fmla="*/ 573 w 590"/>
                <a:gd name="T21" fmla="*/ 64 h 408"/>
                <a:gd name="T22" fmla="*/ 582 w 590"/>
                <a:gd name="T23" fmla="*/ 48 h 408"/>
                <a:gd name="T24" fmla="*/ 582 w 590"/>
                <a:gd name="T25" fmla="*/ 32 h 408"/>
                <a:gd name="T26" fmla="*/ 582 w 590"/>
                <a:gd name="T27" fmla="*/ 16 h 408"/>
                <a:gd name="T28" fmla="*/ 531 w 590"/>
                <a:gd name="T29" fmla="*/ 16 h 408"/>
                <a:gd name="T30" fmla="*/ 523 w 590"/>
                <a:gd name="T31" fmla="*/ 0 h 408"/>
                <a:gd name="T32" fmla="*/ 481 w 590"/>
                <a:gd name="T33" fmla="*/ 8 h 408"/>
                <a:gd name="T34" fmla="*/ 455 w 590"/>
                <a:gd name="T35" fmla="*/ 0 h 408"/>
                <a:gd name="T36" fmla="*/ 413 w 590"/>
                <a:gd name="T37" fmla="*/ 8 h 408"/>
                <a:gd name="T38" fmla="*/ 363 w 590"/>
                <a:gd name="T39" fmla="*/ 24 h 408"/>
                <a:gd name="T40" fmla="*/ 321 w 590"/>
                <a:gd name="T41" fmla="*/ 80 h 408"/>
                <a:gd name="T42" fmla="*/ 270 w 590"/>
                <a:gd name="T43" fmla="*/ 88 h 408"/>
                <a:gd name="T44" fmla="*/ 219 w 590"/>
                <a:gd name="T45" fmla="*/ 88 h 408"/>
                <a:gd name="T46" fmla="*/ 194 w 590"/>
                <a:gd name="T47" fmla="*/ 88 h 408"/>
                <a:gd name="T48" fmla="*/ 169 w 590"/>
                <a:gd name="T49" fmla="*/ 112 h 408"/>
                <a:gd name="T50" fmla="*/ 76 w 590"/>
                <a:gd name="T51" fmla="*/ 112 h 408"/>
                <a:gd name="T52" fmla="*/ 43 w 590"/>
                <a:gd name="T53" fmla="*/ 104 h 408"/>
                <a:gd name="T54" fmla="*/ 43 w 590"/>
                <a:gd name="T55" fmla="*/ 80 h 408"/>
                <a:gd name="T56" fmla="*/ 9 w 590"/>
                <a:gd name="T57" fmla="*/ 64 h 408"/>
                <a:gd name="T58" fmla="*/ 0 w 590"/>
                <a:gd name="T59" fmla="*/ 88 h 408"/>
                <a:gd name="T60" fmla="*/ 9 w 590"/>
                <a:gd name="T61" fmla="*/ 120 h 408"/>
                <a:gd name="T62" fmla="*/ 26 w 590"/>
                <a:gd name="T63" fmla="*/ 152 h 408"/>
                <a:gd name="T64" fmla="*/ 68 w 590"/>
                <a:gd name="T65" fmla="*/ 184 h 408"/>
                <a:gd name="T66" fmla="*/ 51 w 590"/>
                <a:gd name="T67" fmla="*/ 224 h 408"/>
                <a:gd name="T68" fmla="*/ 34 w 590"/>
                <a:gd name="T69" fmla="*/ 232 h 408"/>
                <a:gd name="T70" fmla="*/ 34 w 590"/>
                <a:gd name="T71" fmla="*/ 264 h 408"/>
                <a:gd name="T72" fmla="*/ 51 w 590"/>
                <a:gd name="T73" fmla="*/ 272 h 408"/>
                <a:gd name="T74" fmla="*/ 43 w 590"/>
                <a:gd name="T75" fmla="*/ 304 h 408"/>
                <a:gd name="T76" fmla="*/ 51 w 590"/>
                <a:gd name="T77" fmla="*/ 320 h 408"/>
                <a:gd name="T78" fmla="*/ 93 w 590"/>
                <a:gd name="T79" fmla="*/ 336 h 408"/>
                <a:gd name="T80" fmla="*/ 110 w 590"/>
                <a:gd name="T81" fmla="*/ 368 h 408"/>
                <a:gd name="T82" fmla="*/ 110 w 590"/>
                <a:gd name="T83" fmla="*/ 408 h 408"/>
                <a:gd name="T84" fmla="*/ 110 w 590"/>
                <a:gd name="T85" fmla="*/ 400 h 408"/>
                <a:gd name="T86" fmla="*/ 152 w 590"/>
                <a:gd name="T87" fmla="*/ 400 h 408"/>
                <a:gd name="T88" fmla="*/ 194 w 590"/>
                <a:gd name="T89" fmla="*/ 384 h 408"/>
                <a:gd name="T90" fmla="*/ 245 w 590"/>
                <a:gd name="T91" fmla="*/ 352 h 408"/>
                <a:gd name="T92" fmla="*/ 278 w 590"/>
                <a:gd name="T93" fmla="*/ 368 h 408"/>
                <a:gd name="T94" fmla="*/ 312 w 590"/>
                <a:gd name="T95" fmla="*/ 368 h 408"/>
                <a:gd name="T96" fmla="*/ 337 w 590"/>
                <a:gd name="T97" fmla="*/ 368 h 408"/>
                <a:gd name="T98" fmla="*/ 396 w 590"/>
                <a:gd name="T99" fmla="*/ 352 h 408"/>
                <a:gd name="T100" fmla="*/ 430 w 590"/>
                <a:gd name="T101" fmla="*/ 336 h 408"/>
                <a:gd name="T102" fmla="*/ 422 w 590"/>
                <a:gd name="T103" fmla="*/ 296 h 408"/>
                <a:gd name="T104" fmla="*/ 447 w 590"/>
                <a:gd name="T105" fmla="*/ 296 h 408"/>
                <a:gd name="T106" fmla="*/ 455 w 590"/>
                <a:gd name="T107" fmla="*/ 280 h 408"/>
                <a:gd name="T108" fmla="*/ 455 w 590"/>
                <a:gd name="T109" fmla="*/ 256 h 4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590" h="408">
                  <a:moveTo>
                    <a:pt x="455" y="256"/>
                  </a:moveTo>
                  <a:lnTo>
                    <a:pt x="489" y="248"/>
                  </a:lnTo>
                  <a:lnTo>
                    <a:pt x="514" y="232"/>
                  </a:lnTo>
                  <a:lnTo>
                    <a:pt x="565" y="240"/>
                  </a:lnTo>
                  <a:lnTo>
                    <a:pt x="590" y="232"/>
                  </a:lnTo>
                  <a:lnTo>
                    <a:pt x="565" y="200"/>
                  </a:lnTo>
                  <a:lnTo>
                    <a:pt x="523" y="176"/>
                  </a:lnTo>
                  <a:lnTo>
                    <a:pt x="548" y="144"/>
                  </a:lnTo>
                  <a:lnTo>
                    <a:pt x="548" y="104"/>
                  </a:lnTo>
                  <a:lnTo>
                    <a:pt x="548" y="72"/>
                  </a:lnTo>
                  <a:lnTo>
                    <a:pt x="573" y="64"/>
                  </a:lnTo>
                  <a:lnTo>
                    <a:pt x="582" y="48"/>
                  </a:lnTo>
                  <a:lnTo>
                    <a:pt x="582" y="32"/>
                  </a:lnTo>
                  <a:lnTo>
                    <a:pt x="582" y="16"/>
                  </a:lnTo>
                  <a:lnTo>
                    <a:pt x="531" y="16"/>
                  </a:lnTo>
                  <a:lnTo>
                    <a:pt x="523" y="0"/>
                  </a:lnTo>
                  <a:lnTo>
                    <a:pt x="481" y="8"/>
                  </a:lnTo>
                  <a:lnTo>
                    <a:pt x="455" y="0"/>
                  </a:lnTo>
                  <a:lnTo>
                    <a:pt x="413" y="8"/>
                  </a:lnTo>
                  <a:lnTo>
                    <a:pt x="363" y="24"/>
                  </a:lnTo>
                  <a:lnTo>
                    <a:pt x="321" y="80"/>
                  </a:lnTo>
                  <a:lnTo>
                    <a:pt x="270" y="88"/>
                  </a:lnTo>
                  <a:lnTo>
                    <a:pt x="219" y="88"/>
                  </a:lnTo>
                  <a:lnTo>
                    <a:pt x="194" y="88"/>
                  </a:lnTo>
                  <a:lnTo>
                    <a:pt x="169" y="112"/>
                  </a:lnTo>
                  <a:lnTo>
                    <a:pt x="76" y="112"/>
                  </a:lnTo>
                  <a:lnTo>
                    <a:pt x="43" y="104"/>
                  </a:lnTo>
                  <a:lnTo>
                    <a:pt x="43" y="80"/>
                  </a:lnTo>
                  <a:lnTo>
                    <a:pt x="9" y="64"/>
                  </a:lnTo>
                  <a:lnTo>
                    <a:pt x="0" y="88"/>
                  </a:lnTo>
                  <a:lnTo>
                    <a:pt x="9" y="120"/>
                  </a:lnTo>
                  <a:lnTo>
                    <a:pt x="26" y="152"/>
                  </a:lnTo>
                  <a:lnTo>
                    <a:pt x="68" y="184"/>
                  </a:lnTo>
                  <a:lnTo>
                    <a:pt x="51" y="224"/>
                  </a:lnTo>
                  <a:lnTo>
                    <a:pt x="34" y="232"/>
                  </a:lnTo>
                  <a:lnTo>
                    <a:pt x="34" y="264"/>
                  </a:lnTo>
                  <a:lnTo>
                    <a:pt x="51" y="272"/>
                  </a:lnTo>
                  <a:lnTo>
                    <a:pt x="43" y="304"/>
                  </a:lnTo>
                  <a:lnTo>
                    <a:pt x="51" y="320"/>
                  </a:lnTo>
                  <a:lnTo>
                    <a:pt x="93" y="336"/>
                  </a:lnTo>
                  <a:lnTo>
                    <a:pt x="110" y="368"/>
                  </a:lnTo>
                  <a:lnTo>
                    <a:pt x="110" y="408"/>
                  </a:lnTo>
                  <a:lnTo>
                    <a:pt x="110" y="400"/>
                  </a:lnTo>
                  <a:lnTo>
                    <a:pt x="152" y="400"/>
                  </a:lnTo>
                  <a:lnTo>
                    <a:pt x="194" y="384"/>
                  </a:lnTo>
                  <a:lnTo>
                    <a:pt x="245" y="352"/>
                  </a:lnTo>
                  <a:lnTo>
                    <a:pt x="278" y="368"/>
                  </a:lnTo>
                  <a:lnTo>
                    <a:pt x="312" y="368"/>
                  </a:lnTo>
                  <a:lnTo>
                    <a:pt x="337" y="368"/>
                  </a:lnTo>
                  <a:lnTo>
                    <a:pt x="396" y="352"/>
                  </a:lnTo>
                  <a:lnTo>
                    <a:pt x="430" y="336"/>
                  </a:lnTo>
                  <a:lnTo>
                    <a:pt x="422" y="296"/>
                  </a:lnTo>
                  <a:lnTo>
                    <a:pt x="447" y="296"/>
                  </a:lnTo>
                  <a:lnTo>
                    <a:pt x="455" y="280"/>
                  </a:lnTo>
                  <a:lnTo>
                    <a:pt x="455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21" name="Freeform 75"/>
            <p:cNvSpPr>
              <a:spLocks/>
            </p:cNvSpPr>
            <p:nvPr/>
          </p:nvSpPr>
          <p:spPr bwMode="auto">
            <a:xfrm>
              <a:off x="4831" y="3488"/>
              <a:ext cx="244" cy="192"/>
            </a:xfrm>
            <a:custGeom>
              <a:avLst/>
              <a:gdLst>
                <a:gd name="T0" fmla="*/ 227 w 244"/>
                <a:gd name="T1" fmla="*/ 32 h 192"/>
                <a:gd name="T2" fmla="*/ 185 w 244"/>
                <a:gd name="T3" fmla="*/ 16 h 192"/>
                <a:gd name="T4" fmla="*/ 177 w 244"/>
                <a:gd name="T5" fmla="*/ 0 h 192"/>
                <a:gd name="T6" fmla="*/ 177 w 244"/>
                <a:gd name="T7" fmla="*/ 0 h 192"/>
                <a:gd name="T8" fmla="*/ 134 w 244"/>
                <a:gd name="T9" fmla="*/ 0 h 192"/>
                <a:gd name="T10" fmla="*/ 75 w 244"/>
                <a:gd name="T11" fmla="*/ 24 h 192"/>
                <a:gd name="T12" fmla="*/ 50 w 244"/>
                <a:gd name="T13" fmla="*/ 32 h 192"/>
                <a:gd name="T14" fmla="*/ 25 w 244"/>
                <a:gd name="T15" fmla="*/ 40 h 192"/>
                <a:gd name="T16" fmla="*/ 16 w 244"/>
                <a:gd name="T17" fmla="*/ 72 h 192"/>
                <a:gd name="T18" fmla="*/ 0 w 244"/>
                <a:gd name="T19" fmla="*/ 64 h 192"/>
                <a:gd name="T20" fmla="*/ 0 w 244"/>
                <a:gd name="T21" fmla="*/ 88 h 192"/>
                <a:gd name="T22" fmla="*/ 8 w 244"/>
                <a:gd name="T23" fmla="*/ 144 h 192"/>
                <a:gd name="T24" fmla="*/ 33 w 244"/>
                <a:gd name="T25" fmla="*/ 176 h 192"/>
                <a:gd name="T26" fmla="*/ 59 w 244"/>
                <a:gd name="T27" fmla="*/ 184 h 192"/>
                <a:gd name="T28" fmla="*/ 67 w 244"/>
                <a:gd name="T29" fmla="*/ 192 h 192"/>
                <a:gd name="T30" fmla="*/ 75 w 244"/>
                <a:gd name="T31" fmla="*/ 192 h 192"/>
                <a:gd name="T32" fmla="*/ 109 w 244"/>
                <a:gd name="T33" fmla="*/ 176 h 192"/>
                <a:gd name="T34" fmla="*/ 134 w 244"/>
                <a:gd name="T35" fmla="*/ 176 h 192"/>
                <a:gd name="T36" fmla="*/ 168 w 244"/>
                <a:gd name="T37" fmla="*/ 136 h 192"/>
                <a:gd name="T38" fmla="*/ 236 w 244"/>
                <a:gd name="T39" fmla="*/ 128 h 192"/>
                <a:gd name="T40" fmla="*/ 244 w 244"/>
                <a:gd name="T41" fmla="*/ 104 h 192"/>
                <a:gd name="T42" fmla="*/ 244 w 244"/>
                <a:gd name="T43" fmla="*/ 64 h 192"/>
                <a:gd name="T44" fmla="*/ 227 w 244"/>
                <a:gd name="T45" fmla="*/ 32 h 1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44" h="192">
                  <a:moveTo>
                    <a:pt x="227" y="32"/>
                  </a:moveTo>
                  <a:lnTo>
                    <a:pt x="185" y="16"/>
                  </a:lnTo>
                  <a:lnTo>
                    <a:pt x="177" y="0"/>
                  </a:lnTo>
                  <a:lnTo>
                    <a:pt x="134" y="0"/>
                  </a:lnTo>
                  <a:lnTo>
                    <a:pt x="75" y="24"/>
                  </a:lnTo>
                  <a:lnTo>
                    <a:pt x="50" y="32"/>
                  </a:lnTo>
                  <a:lnTo>
                    <a:pt x="25" y="40"/>
                  </a:lnTo>
                  <a:lnTo>
                    <a:pt x="16" y="72"/>
                  </a:lnTo>
                  <a:lnTo>
                    <a:pt x="0" y="64"/>
                  </a:lnTo>
                  <a:lnTo>
                    <a:pt x="0" y="88"/>
                  </a:lnTo>
                  <a:lnTo>
                    <a:pt x="8" y="144"/>
                  </a:lnTo>
                  <a:lnTo>
                    <a:pt x="33" y="176"/>
                  </a:lnTo>
                  <a:lnTo>
                    <a:pt x="59" y="184"/>
                  </a:lnTo>
                  <a:lnTo>
                    <a:pt x="67" y="192"/>
                  </a:lnTo>
                  <a:lnTo>
                    <a:pt x="75" y="192"/>
                  </a:lnTo>
                  <a:lnTo>
                    <a:pt x="109" y="176"/>
                  </a:lnTo>
                  <a:lnTo>
                    <a:pt x="134" y="176"/>
                  </a:lnTo>
                  <a:lnTo>
                    <a:pt x="168" y="136"/>
                  </a:lnTo>
                  <a:lnTo>
                    <a:pt x="236" y="128"/>
                  </a:lnTo>
                  <a:lnTo>
                    <a:pt x="244" y="104"/>
                  </a:lnTo>
                  <a:lnTo>
                    <a:pt x="244" y="64"/>
                  </a:lnTo>
                  <a:lnTo>
                    <a:pt x="227" y="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22" name="Freeform 76"/>
            <p:cNvSpPr>
              <a:spLocks/>
            </p:cNvSpPr>
            <p:nvPr/>
          </p:nvSpPr>
          <p:spPr bwMode="auto">
            <a:xfrm>
              <a:off x="4965" y="3184"/>
              <a:ext cx="590" cy="408"/>
            </a:xfrm>
            <a:custGeom>
              <a:avLst/>
              <a:gdLst>
                <a:gd name="T0" fmla="*/ 455 w 590"/>
                <a:gd name="T1" fmla="*/ 256 h 408"/>
                <a:gd name="T2" fmla="*/ 489 w 590"/>
                <a:gd name="T3" fmla="*/ 248 h 408"/>
                <a:gd name="T4" fmla="*/ 514 w 590"/>
                <a:gd name="T5" fmla="*/ 232 h 408"/>
                <a:gd name="T6" fmla="*/ 565 w 590"/>
                <a:gd name="T7" fmla="*/ 240 h 408"/>
                <a:gd name="T8" fmla="*/ 590 w 590"/>
                <a:gd name="T9" fmla="*/ 232 h 408"/>
                <a:gd name="T10" fmla="*/ 565 w 590"/>
                <a:gd name="T11" fmla="*/ 200 h 408"/>
                <a:gd name="T12" fmla="*/ 523 w 590"/>
                <a:gd name="T13" fmla="*/ 176 h 408"/>
                <a:gd name="T14" fmla="*/ 548 w 590"/>
                <a:gd name="T15" fmla="*/ 144 h 408"/>
                <a:gd name="T16" fmla="*/ 548 w 590"/>
                <a:gd name="T17" fmla="*/ 104 h 408"/>
                <a:gd name="T18" fmla="*/ 548 w 590"/>
                <a:gd name="T19" fmla="*/ 72 h 408"/>
                <a:gd name="T20" fmla="*/ 573 w 590"/>
                <a:gd name="T21" fmla="*/ 64 h 408"/>
                <a:gd name="T22" fmla="*/ 582 w 590"/>
                <a:gd name="T23" fmla="*/ 48 h 408"/>
                <a:gd name="T24" fmla="*/ 582 w 590"/>
                <a:gd name="T25" fmla="*/ 32 h 408"/>
                <a:gd name="T26" fmla="*/ 582 w 590"/>
                <a:gd name="T27" fmla="*/ 16 h 408"/>
                <a:gd name="T28" fmla="*/ 531 w 590"/>
                <a:gd name="T29" fmla="*/ 16 h 408"/>
                <a:gd name="T30" fmla="*/ 523 w 590"/>
                <a:gd name="T31" fmla="*/ 0 h 408"/>
                <a:gd name="T32" fmla="*/ 481 w 590"/>
                <a:gd name="T33" fmla="*/ 8 h 408"/>
                <a:gd name="T34" fmla="*/ 455 w 590"/>
                <a:gd name="T35" fmla="*/ 0 h 408"/>
                <a:gd name="T36" fmla="*/ 413 w 590"/>
                <a:gd name="T37" fmla="*/ 8 h 408"/>
                <a:gd name="T38" fmla="*/ 363 w 590"/>
                <a:gd name="T39" fmla="*/ 24 h 408"/>
                <a:gd name="T40" fmla="*/ 321 w 590"/>
                <a:gd name="T41" fmla="*/ 80 h 408"/>
                <a:gd name="T42" fmla="*/ 270 w 590"/>
                <a:gd name="T43" fmla="*/ 88 h 408"/>
                <a:gd name="T44" fmla="*/ 219 w 590"/>
                <a:gd name="T45" fmla="*/ 88 h 408"/>
                <a:gd name="T46" fmla="*/ 194 w 590"/>
                <a:gd name="T47" fmla="*/ 88 h 408"/>
                <a:gd name="T48" fmla="*/ 169 w 590"/>
                <a:gd name="T49" fmla="*/ 112 h 408"/>
                <a:gd name="T50" fmla="*/ 76 w 590"/>
                <a:gd name="T51" fmla="*/ 112 h 408"/>
                <a:gd name="T52" fmla="*/ 43 w 590"/>
                <a:gd name="T53" fmla="*/ 104 h 408"/>
                <a:gd name="T54" fmla="*/ 43 w 590"/>
                <a:gd name="T55" fmla="*/ 80 h 408"/>
                <a:gd name="T56" fmla="*/ 9 w 590"/>
                <a:gd name="T57" fmla="*/ 64 h 408"/>
                <a:gd name="T58" fmla="*/ 0 w 590"/>
                <a:gd name="T59" fmla="*/ 88 h 408"/>
                <a:gd name="T60" fmla="*/ 9 w 590"/>
                <a:gd name="T61" fmla="*/ 120 h 408"/>
                <a:gd name="T62" fmla="*/ 26 w 590"/>
                <a:gd name="T63" fmla="*/ 152 h 408"/>
                <a:gd name="T64" fmla="*/ 68 w 590"/>
                <a:gd name="T65" fmla="*/ 184 h 408"/>
                <a:gd name="T66" fmla="*/ 51 w 590"/>
                <a:gd name="T67" fmla="*/ 224 h 408"/>
                <a:gd name="T68" fmla="*/ 34 w 590"/>
                <a:gd name="T69" fmla="*/ 232 h 408"/>
                <a:gd name="T70" fmla="*/ 34 w 590"/>
                <a:gd name="T71" fmla="*/ 264 h 408"/>
                <a:gd name="T72" fmla="*/ 51 w 590"/>
                <a:gd name="T73" fmla="*/ 272 h 408"/>
                <a:gd name="T74" fmla="*/ 43 w 590"/>
                <a:gd name="T75" fmla="*/ 304 h 408"/>
                <a:gd name="T76" fmla="*/ 51 w 590"/>
                <a:gd name="T77" fmla="*/ 320 h 408"/>
                <a:gd name="T78" fmla="*/ 93 w 590"/>
                <a:gd name="T79" fmla="*/ 336 h 408"/>
                <a:gd name="T80" fmla="*/ 110 w 590"/>
                <a:gd name="T81" fmla="*/ 368 h 408"/>
                <a:gd name="T82" fmla="*/ 110 w 590"/>
                <a:gd name="T83" fmla="*/ 408 h 408"/>
                <a:gd name="T84" fmla="*/ 110 w 590"/>
                <a:gd name="T85" fmla="*/ 400 h 408"/>
                <a:gd name="T86" fmla="*/ 152 w 590"/>
                <a:gd name="T87" fmla="*/ 400 h 408"/>
                <a:gd name="T88" fmla="*/ 194 w 590"/>
                <a:gd name="T89" fmla="*/ 384 h 408"/>
                <a:gd name="T90" fmla="*/ 245 w 590"/>
                <a:gd name="T91" fmla="*/ 352 h 408"/>
                <a:gd name="T92" fmla="*/ 278 w 590"/>
                <a:gd name="T93" fmla="*/ 368 h 408"/>
                <a:gd name="T94" fmla="*/ 312 w 590"/>
                <a:gd name="T95" fmla="*/ 368 h 408"/>
                <a:gd name="T96" fmla="*/ 337 w 590"/>
                <a:gd name="T97" fmla="*/ 368 h 408"/>
                <a:gd name="T98" fmla="*/ 396 w 590"/>
                <a:gd name="T99" fmla="*/ 352 h 408"/>
                <a:gd name="T100" fmla="*/ 430 w 590"/>
                <a:gd name="T101" fmla="*/ 336 h 408"/>
                <a:gd name="T102" fmla="*/ 422 w 590"/>
                <a:gd name="T103" fmla="*/ 296 h 408"/>
                <a:gd name="T104" fmla="*/ 447 w 590"/>
                <a:gd name="T105" fmla="*/ 296 h 408"/>
                <a:gd name="T106" fmla="*/ 447 w 590"/>
                <a:gd name="T107" fmla="*/ 296 h 408"/>
                <a:gd name="T108" fmla="*/ 455 w 590"/>
                <a:gd name="T109" fmla="*/ 280 h 408"/>
                <a:gd name="T110" fmla="*/ 455 w 590"/>
                <a:gd name="T111" fmla="*/ 256 h 4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90" h="408">
                  <a:moveTo>
                    <a:pt x="455" y="256"/>
                  </a:moveTo>
                  <a:lnTo>
                    <a:pt x="489" y="248"/>
                  </a:lnTo>
                  <a:lnTo>
                    <a:pt x="514" y="232"/>
                  </a:lnTo>
                  <a:lnTo>
                    <a:pt x="565" y="240"/>
                  </a:lnTo>
                  <a:lnTo>
                    <a:pt x="590" y="232"/>
                  </a:lnTo>
                  <a:lnTo>
                    <a:pt x="565" y="200"/>
                  </a:lnTo>
                  <a:lnTo>
                    <a:pt x="523" y="176"/>
                  </a:lnTo>
                  <a:lnTo>
                    <a:pt x="548" y="144"/>
                  </a:lnTo>
                  <a:lnTo>
                    <a:pt x="548" y="104"/>
                  </a:lnTo>
                  <a:lnTo>
                    <a:pt x="548" y="72"/>
                  </a:lnTo>
                  <a:lnTo>
                    <a:pt x="573" y="64"/>
                  </a:lnTo>
                  <a:lnTo>
                    <a:pt x="582" y="48"/>
                  </a:lnTo>
                  <a:lnTo>
                    <a:pt x="582" y="32"/>
                  </a:lnTo>
                  <a:lnTo>
                    <a:pt x="582" y="16"/>
                  </a:lnTo>
                  <a:lnTo>
                    <a:pt x="531" y="16"/>
                  </a:lnTo>
                  <a:lnTo>
                    <a:pt x="523" y="0"/>
                  </a:lnTo>
                  <a:lnTo>
                    <a:pt x="481" y="8"/>
                  </a:lnTo>
                  <a:lnTo>
                    <a:pt x="455" y="0"/>
                  </a:lnTo>
                  <a:lnTo>
                    <a:pt x="413" y="8"/>
                  </a:lnTo>
                  <a:lnTo>
                    <a:pt x="363" y="24"/>
                  </a:lnTo>
                  <a:lnTo>
                    <a:pt x="321" y="80"/>
                  </a:lnTo>
                  <a:lnTo>
                    <a:pt x="270" y="88"/>
                  </a:lnTo>
                  <a:lnTo>
                    <a:pt x="219" y="88"/>
                  </a:lnTo>
                  <a:lnTo>
                    <a:pt x="194" y="88"/>
                  </a:lnTo>
                  <a:lnTo>
                    <a:pt x="169" y="112"/>
                  </a:lnTo>
                  <a:lnTo>
                    <a:pt x="76" y="112"/>
                  </a:lnTo>
                  <a:lnTo>
                    <a:pt x="43" y="104"/>
                  </a:lnTo>
                  <a:lnTo>
                    <a:pt x="43" y="80"/>
                  </a:lnTo>
                  <a:lnTo>
                    <a:pt x="9" y="64"/>
                  </a:lnTo>
                  <a:lnTo>
                    <a:pt x="0" y="88"/>
                  </a:lnTo>
                  <a:lnTo>
                    <a:pt x="9" y="120"/>
                  </a:lnTo>
                  <a:lnTo>
                    <a:pt x="26" y="152"/>
                  </a:lnTo>
                  <a:lnTo>
                    <a:pt x="68" y="184"/>
                  </a:lnTo>
                  <a:lnTo>
                    <a:pt x="51" y="224"/>
                  </a:lnTo>
                  <a:lnTo>
                    <a:pt x="34" y="232"/>
                  </a:lnTo>
                  <a:lnTo>
                    <a:pt x="34" y="264"/>
                  </a:lnTo>
                  <a:lnTo>
                    <a:pt x="51" y="272"/>
                  </a:lnTo>
                  <a:lnTo>
                    <a:pt x="43" y="304"/>
                  </a:lnTo>
                  <a:lnTo>
                    <a:pt x="51" y="320"/>
                  </a:lnTo>
                  <a:lnTo>
                    <a:pt x="93" y="336"/>
                  </a:lnTo>
                  <a:lnTo>
                    <a:pt x="110" y="368"/>
                  </a:lnTo>
                  <a:lnTo>
                    <a:pt x="110" y="408"/>
                  </a:lnTo>
                  <a:lnTo>
                    <a:pt x="110" y="400"/>
                  </a:lnTo>
                  <a:lnTo>
                    <a:pt x="152" y="400"/>
                  </a:lnTo>
                  <a:lnTo>
                    <a:pt x="194" y="384"/>
                  </a:lnTo>
                  <a:lnTo>
                    <a:pt x="245" y="352"/>
                  </a:lnTo>
                  <a:lnTo>
                    <a:pt x="278" y="368"/>
                  </a:lnTo>
                  <a:lnTo>
                    <a:pt x="312" y="368"/>
                  </a:lnTo>
                  <a:lnTo>
                    <a:pt x="337" y="368"/>
                  </a:lnTo>
                  <a:lnTo>
                    <a:pt x="396" y="352"/>
                  </a:lnTo>
                  <a:lnTo>
                    <a:pt x="430" y="336"/>
                  </a:lnTo>
                  <a:lnTo>
                    <a:pt x="422" y="296"/>
                  </a:lnTo>
                  <a:lnTo>
                    <a:pt x="447" y="296"/>
                  </a:lnTo>
                  <a:lnTo>
                    <a:pt x="455" y="280"/>
                  </a:lnTo>
                  <a:lnTo>
                    <a:pt x="455" y="25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23" name="Freeform 77"/>
            <p:cNvSpPr>
              <a:spLocks/>
            </p:cNvSpPr>
            <p:nvPr/>
          </p:nvSpPr>
          <p:spPr bwMode="auto">
            <a:xfrm>
              <a:off x="5404" y="3416"/>
              <a:ext cx="364" cy="616"/>
            </a:xfrm>
            <a:custGeom>
              <a:avLst/>
              <a:gdLst>
                <a:gd name="T0" fmla="*/ 219 w 364"/>
                <a:gd name="T1" fmla="*/ 40 h 616"/>
                <a:gd name="T2" fmla="*/ 151 w 364"/>
                <a:gd name="T3" fmla="*/ 0 h 616"/>
                <a:gd name="T4" fmla="*/ 75 w 364"/>
                <a:gd name="T5" fmla="*/ 0 h 616"/>
                <a:gd name="T6" fmla="*/ 16 w 364"/>
                <a:gd name="T7" fmla="*/ 24 h 616"/>
                <a:gd name="T8" fmla="*/ 8 w 364"/>
                <a:gd name="T9" fmla="*/ 64 h 616"/>
                <a:gd name="T10" fmla="*/ 16 w 364"/>
                <a:gd name="T11" fmla="*/ 136 h 616"/>
                <a:gd name="T12" fmla="*/ 0 w 364"/>
                <a:gd name="T13" fmla="*/ 192 h 616"/>
                <a:gd name="T14" fmla="*/ 67 w 364"/>
                <a:gd name="T15" fmla="*/ 184 h 616"/>
                <a:gd name="T16" fmla="*/ 33 w 364"/>
                <a:gd name="T17" fmla="*/ 256 h 616"/>
                <a:gd name="T18" fmla="*/ 118 w 364"/>
                <a:gd name="T19" fmla="*/ 312 h 616"/>
                <a:gd name="T20" fmla="*/ 160 w 364"/>
                <a:gd name="T21" fmla="*/ 384 h 616"/>
                <a:gd name="T22" fmla="*/ 168 w 364"/>
                <a:gd name="T23" fmla="*/ 432 h 616"/>
                <a:gd name="T24" fmla="*/ 101 w 364"/>
                <a:gd name="T25" fmla="*/ 440 h 616"/>
                <a:gd name="T26" fmla="*/ 126 w 364"/>
                <a:gd name="T27" fmla="*/ 496 h 616"/>
                <a:gd name="T28" fmla="*/ 168 w 364"/>
                <a:gd name="T29" fmla="*/ 480 h 616"/>
                <a:gd name="T30" fmla="*/ 219 w 364"/>
                <a:gd name="T31" fmla="*/ 504 h 616"/>
                <a:gd name="T32" fmla="*/ 235 w 364"/>
                <a:gd name="T33" fmla="*/ 560 h 616"/>
                <a:gd name="T34" fmla="*/ 244 w 364"/>
                <a:gd name="T35" fmla="*/ 592 h 616"/>
                <a:gd name="T36" fmla="*/ 261 w 364"/>
                <a:gd name="T37" fmla="*/ 600 h 616"/>
                <a:gd name="T38" fmla="*/ 337 w 364"/>
                <a:gd name="T39" fmla="*/ 616 h 616"/>
                <a:gd name="T40" fmla="*/ 360 w 364"/>
                <a:gd name="T41" fmla="*/ 578 h 616"/>
                <a:gd name="T42" fmla="*/ 303 w 364"/>
                <a:gd name="T43" fmla="*/ 56 h 616"/>
                <a:gd name="T44" fmla="*/ 320 w 364"/>
                <a:gd name="T45" fmla="*/ 152 h 616"/>
                <a:gd name="T46" fmla="*/ 244 w 364"/>
                <a:gd name="T47" fmla="*/ 168 h 616"/>
                <a:gd name="T48" fmla="*/ 151 w 364"/>
                <a:gd name="T49" fmla="*/ 200 h 616"/>
                <a:gd name="T50" fmla="*/ 92 w 364"/>
                <a:gd name="T51" fmla="*/ 208 h 616"/>
                <a:gd name="T52" fmla="*/ 42 w 364"/>
                <a:gd name="T53" fmla="*/ 264 h 616"/>
                <a:gd name="T54" fmla="*/ 59 w 364"/>
                <a:gd name="T55" fmla="*/ 232 h 616"/>
                <a:gd name="T56" fmla="*/ 126 w 364"/>
                <a:gd name="T57" fmla="*/ 168 h 616"/>
                <a:gd name="T58" fmla="*/ 185 w 364"/>
                <a:gd name="T59" fmla="*/ 104 h 616"/>
                <a:gd name="T60" fmla="*/ 286 w 364"/>
                <a:gd name="T61" fmla="*/ 80 h 616"/>
                <a:gd name="T62" fmla="*/ 303 w 364"/>
                <a:gd name="T63" fmla="*/ 96 h 616"/>
                <a:gd name="T64" fmla="*/ 328 w 364"/>
                <a:gd name="T65" fmla="*/ 112 h 616"/>
                <a:gd name="T66" fmla="*/ 303 w 364"/>
                <a:gd name="T67" fmla="*/ 56 h 6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364" h="616">
                  <a:moveTo>
                    <a:pt x="303" y="56"/>
                  </a:moveTo>
                  <a:lnTo>
                    <a:pt x="219" y="40"/>
                  </a:lnTo>
                  <a:lnTo>
                    <a:pt x="185" y="24"/>
                  </a:lnTo>
                  <a:lnTo>
                    <a:pt x="151" y="0"/>
                  </a:lnTo>
                  <a:lnTo>
                    <a:pt x="126" y="8"/>
                  </a:lnTo>
                  <a:lnTo>
                    <a:pt x="75" y="0"/>
                  </a:lnTo>
                  <a:lnTo>
                    <a:pt x="50" y="16"/>
                  </a:lnTo>
                  <a:lnTo>
                    <a:pt x="16" y="24"/>
                  </a:lnTo>
                  <a:lnTo>
                    <a:pt x="16" y="48"/>
                  </a:lnTo>
                  <a:lnTo>
                    <a:pt x="8" y="64"/>
                  </a:lnTo>
                  <a:lnTo>
                    <a:pt x="33" y="88"/>
                  </a:lnTo>
                  <a:lnTo>
                    <a:pt x="16" y="136"/>
                  </a:lnTo>
                  <a:lnTo>
                    <a:pt x="25" y="160"/>
                  </a:lnTo>
                  <a:lnTo>
                    <a:pt x="0" y="192"/>
                  </a:lnTo>
                  <a:lnTo>
                    <a:pt x="0" y="200"/>
                  </a:lnTo>
                  <a:lnTo>
                    <a:pt x="67" y="184"/>
                  </a:lnTo>
                  <a:lnTo>
                    <a:pt x="42" y="216"/>
                  </a:lnTo>
                  <a:lnTo>
                    <a:pt x="33" y="256"/>
                  </a:lnTo>
                  <a:lnTo>
                    <a:pt x="50" y="328"/>
                  </a:lnTo>
                  <a:lnTo>
                    <a:pt x="118" y="312"/>
                  </a:lnTo>
                  <a:lnTo>
                    <a:pt x="118" y="352"/>
                  </a:lnTo>
                  <a:lnTo>
                    <a:pt x="160" y="384"/>
                  </a:lnTo>
                  <a:lnTo>
                    <a:pt x="151" y="408"/>
                  </a:lnTo>
                  <a:lnTo>
                    <a:pt x="168" y="432"/>
                  </a:lnTo>
                  <a:lnTo>
                    <a:pt x="134" y="448"/>
                  </a:lnTo>
                  <a:lnTo>
                    <a:pt x="101" y="440"/>
                  </a:lnTo>
                  <a:lnTo>
                    <a:pt x="101" y="472"/>
                  </a:lnTo>
                  <a:lnTo>
                    <a:pt x="126" y="496"/>
                  </a:lnTo>
                  <a:lnTo>
                    <a:pt x="151" y="480"/>
                  </a:lnTo>
                  <a:lnTo>
                    <a:pt x="168" y="480"/>
                  </a:lnTo>
                  <a:lnTo>
                    <a:pt x="185" y="488"/>
                  </a:lnTo>
                  <a:lnTo>
                    <a:pt x="219" y="504"/>
                  </a:lnTo>
                  <a:lnTo>
                    <a:pt x="227" y="528"/>
                  </a:lnTo>
                  <a:lnTo>
                    <a:pt x="235" y="560"/>
                  </a:lnTo>
                  <a:lnTo>
                    <a:pt x="269" y="576"/>
                  </a:lnTo>
                  <a:lnTo>
                    <a:pt x="244" y="592"/>
                  </a:lnTo>
                  <a:lnTo>
                    <a:pt x="244" y="600"/>
                  </a:lnTo>
                  <a:lnTo>
                    <a:pt x="261" y="600"/>
                  </a:lnTo>
                  <a:lnTo>
                    <a:pt x="345" y="584"/>
                  </a:lnTo>
                  <a:lnTo>
                    <a:pt x="337" y="616"/>
                  </a:lnTo>
                  <a:lnTo>
                    <a:pt x="364" y="602"/>
                  </a:lnTo>
                  <a:lnTo>
                    <a:pt x="360" y="578"/>
                  </a:lnTo>
                  <a:lnTo>
                    <a:pt x="354" y="56"/>
                  </a:lnTo>
                  <a:lnTo>
                    <a:pt x="303" y="56"/>
                  </a:lnTo>
                  <a:lnTo>
                    <a:pt x="286" y="136"/>
                  </a:lnTo>
                  <a:lnTo>
                    <a:pt x="320" y="152"/>
                  </a:lnTo>
                  <a:lnTo>
                    <a:pt x="286" y="168"/>
                  </a:lnTo>
                  <a:lnTo>
                    <a:pt x="244" y="168"/>
                  </a:lnTo>
                  <a:lnTo>
                    <a:pt x="176" y="200"/>
                  </a:lnTo>
                  <a:lnTo>
                    <a:pt x="151" y="200"/>
                  </a:lnTo>
                  <a:lnTo>
                    <a:pt x="134" y="200"/>
                  </a:lnTo>
                  <a:lnTo>
                    <a:pt x="92" y="208"/>
                  </a:lnTo>
                  <a:lnTo>
                    <a:pt x="67" y="232"/>
                  </a:lnTo>
                  <a:lnTo>
                    <a:pt x="42" y="264"/>
                  </a:lnTo>
                  <a:lnTo>
                    <a:pt x="42" y="248"/>
                  </a:lnTo>
                  <a:lnTo>
                    <a:pt x="59" y="232"/>
                  </a:lnTo>
                  <a:lnTo>
                    <a:pt x="84" y="200"/>
                  </a:lnTo>
                  <a:lnTo>
                    <a:pt x="126" y="168"/>
                  </a:lnTo>
                  <a:lnTo>
                    <a:pt x="134" y="120"/>
                  </a:lnTo>
                  <a:lnTo>
                    <a:pt x="185" y="104"/>
                  </a:lnTo>
                  <a:lnTo>
                    <a:pt x="235" y="96"/>
                  </a:lnTo>
                  <a:lnTo>
                    <a:pt x="286" y="80"/>
                  </a:lnTo>
                  <a:lnTo>
                    <a:pt x="294" y="80"/>
                  </a:lnTo>
                  <a:lnTo>
                    <a:pt x="303" y="96"/>
                  </a:lnTo>
                  <a:lnTo>
                    <a:pt x="345" y="104"/>
                  </a:lnTo>
                  <a:lnTo>
                    <a:pt x="328" y="112"/>
                  </a:lnTo>
                  <a:lnTo>
                    <a:pt x="286" y="136"/>
                  </a:lnTo>
                  <a:lnTo>
                    <a:pt x="303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24" name="Freeform 78"/>
            <p:cNvSpPr>
              <a:spLocks/>
            </p:cNvSpPr>
            <p:nvPr/>
          </p:nvSpPr>
          <p:spPr bwMode="auto">
            <a:xfrm>
              <a:off x="5404" y="3416"/>
              <a:ext cx="362" cy="616"/>
            </a:xfrm>
            <a:custGeom>
              <a:avLst/>
              <a:gdLst>
                <a:gd name="T0" fmla="*/ 303 w 362"/>
                <a:gd name="T1" fmla="*/ 56 h 616"/>
                <a:gd name="T2" fmla="*/ 219 w 362"/>
                <a:gd name="T3" fmla="*/ 40 h 616"/>
                <a:gd name="T4" fmla="*/ 185 w 362"/>
                <a:gd name="T5" fmla="*/ 24 h 616"/>
                <a:gd name="T6" fmla="*/ 151 w 362"/>
                <a:gd name="T7" fmla="*/ 0 h 616"/>
                <a:gd name="T8" fmla="*/ 126 w 362"/>
                <a:gd name="T9" fmla="*/ 8 h 616"/>
                <a:gd name="T10" fmla="*/ 75 w 362"/>
                <a:gd name="T11" fmla="*/ 0 h 616"/>
                <a:gd name="T12" fmla="*/ 50 w 362"/>
                <a:gd name="T13" fmla="*/ 16 h 616"/>
                <a:gd name="T14" fmla="*/ 16 w 362"/>
                <a:gd name="T15" fmla="*/ 24 h 616"/>
                <a:gd name="T16" fmla="*/ 16 w 362"/>
                <a:gd name="T17" fmla="*/ 48 h 616"/>
                <a:gd name="T18" fmla="*/ 8 w 362"/>
                <a:gd name="T19" fmla="*/ 64 h 616"/>
                <a:gd name="T20" fmla="*/ 33 w 362"/>
                <a:gd name="T21" fmla="*/ 88 h 616"/>
                <a:gd name="T22" fmla="*/ 16 w 362"/>
                <a:gd name="T23" fmla="*/ 136 h 616"/>
                <a:gd name="T24" fmla="*/ 25 w 362"/>
                <a:gd name="T25" fmla="*/ 160 h 616"/>
                <a:gd name="T26" fmla="*/ 0 w 362"/>
                <a:gd name="T27" fmla="*/ 192 h 616"/>
                <a:gd name="T28" fmla="*/ 0 w 362"/>
                <a:gd name="T29" fmla="*/ 200 h 616"/>
                <a:gd name="T30" fmla="*/ 67 w 362"/>
                <a:gd name="T31" fmla="*/ 184 h 616"/>
                <a:gd name="T32" fmla="*/ 42 w 362"/>
                <a:gd name="T33" fmla="*/ 216 h 616"/>
                <a:gd name="T34" fmla="*/ 33 w 362"/>
                <a:gd name="T35" fmla="*/ 256 h 616"/>
                <a:gd name="T36" fmla="*/ 50 w 362"/>
                <a:gd name="T37" fmla="*/ 328 h 616"/>
                <a:gd name="T38" fmla="*/ 118 w 362"/>
                <a:gd name="T39" fmla="*/ 312 h 616"/>
                <a:gd name="T40" fmla="*/ 118 w 362"/>
                <a:gd name="T41" fmla="*/ 352 h 616"/>
                <a:gd name="T42" fmla="*/ 160 w 362"/>
                <a:gd name="T43" fmla="*/ 384 h 616"/>
                <a:gd name="T44" fmla="*/ 151 w 362"/>
                <a:gd name="T45" fmla="*/ 408 h 616"/>
                <a:gd name="T46" fmla="*/ 168 w 362"/>
                <a:gd name="T47" fmla="*/ 432 h 616"/>
                <a:gd name="T48" fmla="*/ 134 w 362"/>
                <a:gd name="T49" fmla="*/ 448 h 616"/>
                <a:gd name="T50" fmla="*/ 101 w 362"/>
                <a:gd name="T51" fmla="*/ 440 h 616"/>
                <a:gd name="T52" fmla="*/ 101 w 362"/>
                <a:gd name="T53" fmla="*/ 472 h 616"/>
                <a:gd name="T54" fmla="*/ 126 w 362"/>
                <a:gd name="T55" fmla="*/ 496 h 616"/>
                <a:gd name="T56" fmla="*/ 151 w 362"/>
                <a:gd name="T57" fmla="*/ 480 h 616"/>
                <a:gd name="T58" fmla="*/ 168 w 362"/>
                <a:gd name="T59" fmla="*/ 480 h 616"/>
                <a:gd name="T60" fmla="*/ 185 w 362"/>
                <a:gd name="T61" fmla="*/ 488 h 616"/>
                <a:gd name="T62" fmla="*/ 219 w 362"/>
                <a:gd name="T63" fmla="*/ 504 h 616"/>
                <a:gd name="T64" fmla="*/ 227 w 362"/>
                <a:gd name="T65" fmla="*/ 528 h 616"/>
                <a:gd name="T66" fmla="*/ 235 w 362"/>
                <a:gd name="T67" fmla="*/ 560 h 616"/>
                <a:gd name="T68" fmla="*/ 269 w 362"/>
                <a:gd name="T69" fmla="*/ 576 h 616"/>
                <a:gd name="T70" fmla="*/ 244 w 362"/>
                <a:gd name="T71" fmla="*/ 592 h 616"/>
                <a:gd name="T72" fmla="*/ 244 w 362"/>
                <a:gd name="T73" fmla="*/ 600 h 616"/>
                <a:gd name="T74" fmla="*/ 261 w 362"/>
                <a:gd name="T75" fmla="*/ 600 h 616"/>
                <a:gd name="T76" fmla="*/ 345 w 362"/>
                <a:gd name="T77" fmla="*/ 584 h 616"/>
                <a:gd name="T78" fmla="*/ 337 w 362"/>
                <a:gd name="T79" fmla="*/ 616 h 616"/>
                <a:gd name="T80" fmla="*/ 362 w 362"/>
                <a:gd name="T81" fmla="*/ 600 h 616"/>
                <a:gd name="T82" fmla="*/ 354 w 362"/>
                <a:gd name="T83" fmla="*/ 50 h 616"/>
                <a:gd name="T84" fmla="*/ 303 w 362"/>
                <a:gd name="T85" fmla="*/ 56 h 616"/>
                <a:gd name="T86" fmla="*/ 303 w 362"/>
                <a:gd name="T87" fmla="*/ 56 h 6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362" h="616">
                  <a:moveTo>
                    <a:pt x="303" y="56"/>
                  </a:moveTo>
                  <a:lnTo>
                    <a:pt x="219" y="40"/>
                  </a:lnTo>
                  <a:lnTo>
                    <a:pt x="185" y="24"/>
                  </a:lnTo>
                  <a:lnTo>
                    <a:pt x="151" y="0"/>
                  </a:lnTo>
                  <a:lnTo>
                    <a:pt x="126" y="8"/>
                  </a:lnTo>
                  <a:lnTo>
                    <a:pt x="75" y="0"/>
                  </a:lnTo>
                  <a:lnTo>
                    <a:pt x="50" y="16"/>
                  </a:lnTo>
                  <a:lnTo>
                    <a:pt x="16" y="24"/>
                  </a:lnTo>
                  <a:lnTo>
                    <a:pt x="16" y="48"/>
                  </a:lnTo>
                  <a:lnTo>
                    <a:pt x="8" y="64"/>
                  </a:lnTo>
                  <a:lnTo>
                    <a:pt x="33" y="88"/>
                  </a:lnTo>
                  <a:lnTo>
                    <a:pt x="16" y="136"/>
                  </a:lnTo>
                  <a:lnTo>
                    <a:pt x="25" y="160"/>
                  </a:lnTo>
                  <a:lnTo>
                    <a:pt x="0" y="192"/>
                  </a:lnTo>
                  <a:lnTo>
                    <a:pt x="0" y="200"/>
                  </a:lnTo>
                  <a:lnTo>
                    <a:pt x="67" y="184"/>
                  </a:lnTo>
                  <a:lnTo>
                    <a:pt x="42" y="216"/>
                  </a:lnTo>
                  <a:lnTo>
                    <a:pt x="33" y="256"/>
                  </a:lnTo>
                  <a:lnTo>
                    <a:pt x="50" y="328"/>
                  </a:lnTo>
                  <a:lnTo>
                    <a:pt x="118" y="312"/>
                  </a:lnTo>
                  <a:lnTo>
                    <a:pt x="118" y="352"/>
                  </a:lnTo>
                  <a:lnTo>
                    <a:pt x="160" y="384"/>
                  </a:lnTo>
                  <a:lnTo>
                    <a:pt x="151" y="408"/>
                  </a:lnTo>
                  <a:lnTo>
                    <a:pt x="168" y="432"/>
                  </a:lnTo>
                  <a:lnTo>
                    <a:pt x="134" y="448"/>
                  </a:lnTo>
                  <a:lnTo>
                    <a:pt x="101" y="440"/>
                  </a:lnTo>
                  <a:lnTo>
                    <a:pt x="101" y="472"/>
                  </a:lnTo>
                  <a:lnTo>
                    <a:pt x="126" y="496"/>
                  </a:lnTo>
                  <a:lnTo>
                    <a:pt x="151" y="480"/>
                  </a:lnTo>
                  <a:lnTo>
                    <a:pt x="168" y="480"/>
                  </a:lnTo>
                  <a:lnTo>
                    <a:pt x="185" y="488"/>
                  </a:lnTo>
                  <a:lnTo>
                    <a:pt x="219" y="504"/>
                  </a:lnTo>
                  <a:lnTo>
                    <a:pt x="227" y="528"/>
                  </a:lnTo>
                  <a:lnTo>
                    <a:pt x="235" y="560"/>
                  </a:lnTo>
                  <a:lnTo>
                    <a:pt x="269" y="576"/>
                  </a:lnTo>
                  <a:lnTo>
                    <a:pt x="244" y="592"/>
                  </a:lnTo>
                  <a:lnTo>
                    <a:pt x="244" y="600"/>
                  </a:lnTo>
                  <a:lnTo>
                    <a:pt x="261" y="600"/>
                  </a:lnTo>
                  <a:lnTo>
                    <a:pt x="345" y="584"/>
                  </a:lnTo>
                  <a:lnTo>
                    <a:pt x="337" y="616"/>
                  </a:lnTo>
                  <a:lnTo>
                    <a:pt x="362" y="600"/>
                  </a:lnTo>
                  <a:lnTo>
                    <a:pt x="354" y="50"/>
                  </a:lnTo>
                  <a:lnTo>
                    <a:pt x="303" y="5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25" name="Freeform 79"/>
            <p:cNvSpPr>
              <a:spLocks/>
            </p:cNvSpPr>
            <p:nvPr/>
          </p:nvSpPr>
          <p:spPr bwMode="auto">
            <a:xfrm>
              <a:off x="5446" y="3496"/>
              <a:ext cx="308" cy="184"/>
            </a:xfrm>
            <a:custGeom>
              <a:avLst/>
              <a:gdLst>
                <a:gd name="T0" fmla="*/ 244 w 308"/>
                <a:gd name="T1" fmla="*/ 56 h 184"/>
                <a:gd name="T2" fmla="*/ 278 w 308"/>
                <a:gd name="T3" fmla="*/ 72 h 184"/>
                <a:gd name="T4" fmla="*/ 244 w 308"/>
                <a:gd name="T5" fmla="*/ 88 h 184"/>
                <a:gd name="T6" fmla="*/ 202 w 308"/>
                <a:gd name="T7" fmla="*/ 88 h 184"/>
                <a:gd name="T8" fmla="*/ 134 w 308"/>
                <a:gd name="T9" fmla="*/ 120 h 184"/>
                <a:gd name="T10" fmla="*/ 109 w 308"/>
                <a:gd name="T11" fmla="*/ 120 h 184"/>
                <a:gd name="T12" fmla="*/ 92 w 308"/>
                <a:gd name="T13" fmla="*/ 120 h 184"/>
                <a:gd name="T14" fmla="*/ 50 w 308"/>
                <a:gd name="T15" fmla="*/ 128 h 184"/>
                <a:gd name="T16" fmla="*/ 25 w 308"/>
                <a:gd name="T17" fmla="*/ 152 h 184"/>
                <a:gd name="T18" fmla="*/ 0 w 308"/>
                <a:gd name="T19" fmla="*/ 184 h 184"/>
                <a:gd name="T20" fmla="*/ 0 w 308"/>
                <a:gd name="T21" fmla="*/ 168 h 184"/>
                <a:gd name="T22" fmla="*/ 17 w 308"/>
                <a:gd name="T23" fmla="*/ 152 h 184"/>
                <a:gd name="T24" fmla="*/ 42 w 308"/>
                <a:gd name="T25" fmla="*/ 120 h 184"/>
                <a:gd name="T26" fmla="*/ 84 w 308"/>
                <a:gd name="T27" fmla="*/ 88 h 184"/>
                <a:gd name="T28" fmla="*/ 92 w 308"/>
                <a:gd name="T29" fmla="*/ 40 h 184"/>
                <a:gd name="T30" fmla="*/ 143 w 308"/>
                <a:gd name="T31" fmla="*/ 24 h 184"/>
                <a:gd name="T32" fmla="*/ 193 w 308"/>
                <a:gd name="T33" fmla="*/ 16 h 184"/>
                <a:gd name="T34" fmla="*/ 244 w 308"/>
                <a:gd name="T35" fmla="*/ 0 h 184"/>
                <a:gd name="T36" fmla="*/ 252 w 308"/>
                <a:gd name="T37" fmla="*/ 0 h 184"/>
                <a:gd name="T38" fmla="*/ 261 w 308"/>
                <a:gd name="T39" fmla="*/ 16 h 184"/>
                <a:gd name="T40" fmla="*/ 303 w 308"/>
                <a:gd name="T41" fmla="*/ 24 h 184"/>
                <a:gd name="T42" fmla="*/ 308 w 308"/>
                <a:gd name="T43" fmla="*/ 24 h 184"/>
                <a:gd name="T44" fmla="*/ 286 w 308"/>
                <a:gd name="T45" fmla="*/ 32 h 184"/>
                <a:gd name="T46" fmla="*/ 244 w 308"/>
                <a:gd name="T47" fmla="*/ 56 h 184"/>
                <a:gd name="T48" fmla="*/ 244 w 308"/>
                <a:gd name="T49" fmla="*/ 56 h 18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08" h="184">
                  <a:moveTo>
                    <a:pt x="244" y="56"/>
                  </a:moveTo>
                  <a:lnTo>
                    <a:pt x="278" y="72"/>
                  </a:lnTo>
                  <a:lnTo>
                    <a:pt x="244" y="88"/>
                  </a:lnTo>
                  <a:lnTo>
                    <a:pt x="202" y="88"/>
                  </a:lnTo>
                  <a:lnTo>
                    <a:pt x="134" y="120"/>
                  </a:lnTo>
                  <a:lnTo>
                    <a:pt x="109" y="120"/>
                  </a:lnTo>
                  <a:lnTo>
                    <a:pt x="92" y="120"/>
                  </a:lnTo>
                  <a:lnTo>
                    <a:pt x="50" y="128"/>
                  </a:lnTo>
                  <a:lnTo>
                    <a:pt x="25" y="152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17" y="152"/>
                  </a:lnTo>
                  <a:lnTo>
                    <a:pt x="42" y="120"/>
                  </a:lnTo>
                  <a:lnTo>
                    <a:pt x="84" y="88"/>
                  </a:lnTo>
                  <a:lnTo>
                    <a:pt x="92" y="40"/>
                  </a:lnTo>
                  <a:lnTo>
                    <a:pt x="143" y="24"/>
                  </a:lnTo>
                  <a:lnTo>
                    <a:pt x="193" y="16"/>
                  </a:lnTo>
                  <a:lnTo>
                    <a:pt x="244" y="0"/>
                  </a:lnTo>
                  <a:lnTo>
                    <a:pt x="252" y="0"/>
                  </a:lnTo>
                  <a:lnTo>
                    <a:pt x="261" y="16"/>
                  </a:lnTo>
                  <a:lnTo>
                    <a:pt x="303" y="24"/>
                  </a:lnTo>
                  <a:lnTo>
                    <a:pt x="308" y="24"/>
                  </a:lnTo>
                  <a:lnTo>
                    <a:pt x="286" y="32"/>
                  </a:lnTo>
                  <a:lnTo>
                    <a:pt x="244" y="5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26" name="Freeform 80"/>
            <p:cNvSpPr>
              <a:spLocks/>
            </p:cNvSpPr>
            <p:nvPr/>
          </p:nvSpPr>
          <p:spPr bwMode="auto">
            <a:xfrm>
              <a:off x="4721" y="2704"/>
              <a:ext cx="893" cy="592"/>
            </a:xfrm>
            <a:custGeom>
              <a:avLst/>
              <a:gdLst>
                <a:gd name="T0" fmla="*/ 784 w 893"/>
                <a:gd name="T1" fmla="*/ 312 h 592"/>
                <a:gd name="T2" fmla="*/ 725 w 893"/>
                <a:gd name="T3" fmla="*/ 280 h 592"/>
                <a:gd name="T4" fmla="*/ 708 w 893"/>
                <a:gd name="T5" fmla="*/ 208 h 592"/>
                <a:gd name="T6" fmla="*/ 708 w 893"/>
                <a:gd name="T7" fmla="*/ 168 h 592"/>
                <a:gd name="T8" fmla="*/ 666 w 893"/>
                <a:gd name="T9" fmla="*/ 120 h 592"/>
                <a:gd name="T10" fmla="*/ 632 w 893"/>
                <a:gd name="T11" fmla="*/ 96 h 592"/>
                <a:gd name="T12" fmla="*/ 581 w 893"/>
                <a:gd name="T13" fmla="*/ 56 h 592"/>
                <a:gd name="T14" fmla="*/ 548 w 893"/>
                <a:gd name="T15" fmla="*/ 16 h 592"/>
                <a:gd name="T16" fmla="*/ 506 w 893"/>
                <a:gd name="T17" fmla="*/ 0 h 592"/>
                <a:gd name="T18" fmla="*/ 472 w 893"/>
                <a:gd name="T19" fmla="*/ 48 h 592"/>
                <a:gd name="T20" fmla="*/ 396 w 893"/>
                <a:gd name="T21" fmla="*/ 72 h 592"/>
                <a:gd name="T22" fmla="*/ 371 w 893"/>
                <a:gd name="T23" fmla="*/ 96 h 592"/>
                <a:gd name="T24" fmla="*/ 337 w 893"/>
                <a:gd name="T25" fmla="*/ 80 h 592"/>
                <a:gd name="T26" fmla="*/ 287 w 893"/>
                <a:gd name="T27" fmla="*/ 88 h 592"/>
                <a:gd name="T28" fmla="*/ 253 w 893"/>
                <a:gd name="T29" fmla="*/ 88 h 592"/>
                <a:gd name="T30" fmla="*/ 219 w 893"/>
                <a:gd name="T31" fmla="*/ 80 h 592"/>
                <a:gd name="T32" fmla="*/ 185 w 893"/>
                <a:gd name="T33" fmla="*/ 104 h 592"/>
                <a:gd name="T34" fmla="*/ 160 w 893"/>
                <a:gd name="T35" fmla="*/ 128 h 592"/>
                <a:gd name="T36" fmla="*/ 135 w 893"/>
                <a:gd name="T37" fmla="*/ 168 h 592"/>
                <a:gd name="T38" fmla="*/ 110 w 893"/>
                <a:gd name="T39" fmla="*/ 224 h 592"/>
                <a:gd name="T40" fmla="*/ 84 w 893"/>
                <a:gd name="T41" fmla="*/ 256 h 592"/>
                <a:gd name="T42" fmla="*/ 76 w 893"/>
                <a:gd name="T43" fmla="*/ 280 h 592"/>
                <a:gd name="T44" fmla="*/ 67 w 893"/>
                <a:gd name="T45" fmla="*/ 320 h 592"/>
                <a:gd name="T46" fmla="*/ 51 w 893"/>
                <a:gd name="T47" fmla="*/ 328 h 592"/>
                <a:gd name="T48" fmla="*/ 25 w 893"/>
                <a:gd name="T49" fmla="*/ 344 h 592"/>
                <a:gd name="T50" fmla="*/ 0 w 893"/>
                <a:gd name="T51" fmla="*/ 352 h 592"/>
                <a:gd name="T52" fmla="*/ 17 w 893"/>
                <a:gd name="T53" fmla="*/ 368 h 592"/>
                <a:gd name="T54" fmla="*/ 51 w 893"/>
                <a:gd name="T55" fmla="*/ 392 h 592"/>
                <a:gd name="T56" fmla="*/ 59 w 893"/>
                <a:gd name="T57" fmla="*/ 416 h 592"/>
                <a:gd name="T58" fmla="*/ 93 w 893"/>
                <a:gd name="T59" fmla="*/ 440 h 592"/>
                <a:gd name="T60" fmla="*/ 135 w 893"/>
                <a:gd name="T61" fmla="*/ 456 h 592"/>
                <a:gd name="T62" fmla="*/ 118 w 893"/>
                <a:gd name="T63" fmla="*/ 488 h 592"/>
                <a:gd name="T64" fmla="*/ 160 w 893"/>
                <a:gd name="T65" fmla="*/ 496 h 592"/>
                <a:gd name="T66" fmla="*/ 202 w 893"/>
                <a:gd name="T67" fmla="*/ 512 h 592"/>
                <a:gd name="T68" fmla="*/ 244 w 893"/>
                <a:gd name="T69" fmla="*/ 488 h 592"/>
                <a:gd name="T70" fmla="*/ 244 w 893"/>
                <a:gd name="T71" fmla="*/ 528 h 592"/>
                <a:gd name="T72" fmla="*/ 261 w 893"/>
                <a:gd name="T73" fmla="*/ 536 h 592"/>
                <a:gd name="T74" fmla="*/ 253 w 893"/>
                <a:gd name="T75" fmla="*/ 544 h 592"/>
                <a:gd name="T76" fmla="*/ 287 w 893"/>
                <a:gd name="T77" fmla="*/ 560 h 592"/>
                <a:gd name="T78" fmla="*/ 287 w 893"/>
                <a:gd name="T79" fmla="*/ 584 h 592"/>
                <a:gd name="T80" fmla="*/ 320 w 893"/>
                <a:gd name="T81" fmla="*/ 592 h 592"/>
                <a:gd name="T82" fmla="*/ 413 w 893"/>
                <a:gd name="T83" fmla="*/ 592 h 592"/>
                <a:gd name="T84" fmla="*/ 438 w 893"/>
                <a:gd name="T85" fmla="*/ 568 h 592"/>
                <a:gd name="T86" fmla="*/ 463 w 893"/>
                <a:gd name="T87" fmla="*/ 568 h 592"/>
                <a:gd name="T88" fmla="*/ 514 w 893"/>
                <a:gd name="T89" fmla="*/ 568 h 592"/>
                <a:gd name="T90" fmla="*/ 565 w 893"/>
                <a:gd name="T91" fmla="*/ 560 h 592"/>
                <a:gd name="T92" fmla="*/ 607 w 893"/>
                <a:gd name="T93" fmla="*/ 504 h 592"/>
                <a:gd name="T94" fmla="*/ 657 w 893"/>
                <a:gd name="T95" fmla="*/ 488 h 592"/>
                <a:gd name="T96" fmla="*/ 699 w 893"/>
                <a:gd name="T97" fmla="*/ 480 h 592"/>
                <a:gd name="T98" fmla="*/ 725 w 893"/>
                <a:gd name="T99" fmla="*/ 488 h 592"/>
                <a:gd name="T100" fmla="*/ 767 w 893"/>
                <a:gd name="T101" fmla="*/ 480 h 592"/>
                <a:gd name="T102" fmla="*/ 775 w 893"/>
                <a:gd name="T103" fmla="*/ 496 h 592"/>
                <a:gd name="T104" fmla="*/ 826 w 893"/>
                <a:gd name="T105" fmla="*/ 496 h 592"/>
                <a:gd name="T106" fmla="*/ 834 w 893"/>
                <a:gd name="T107" fmla="*/ 416 h 592"/>
                <a:gd name="T108" fmla="*/ 851 w 893"/>
                <a:gd name="T109" fmla="*/ 376 h 592"/>
                <a:gd name="T110" fmla="*/ 885 w 893"/>
                <a:gd name="T111" fmla="*/ 336 h 592"/>
                <a:gd name="T112" fmla="*/ 893 w 893"/>
                <a:gd name="T113" fmla="*/ 312 h 592"/>
                <a:gd name="T114" fmla="*/ 876 w 893"/>
                <a:gd name="T115" fmla="*/ 288 h 592"/>
                <a:gd name="T116" fmla="*/ 834 w 893"/>
                <a:gd name="T117" fmla="*/ 288 h 592"/>
                <a:gd name="T118" fmla="*/ 784 w 893"/>
                <a:gd name="T119" fmla="*/ 312 h 59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93" h="592">
                  <a:moveTo>
                    <a:pt x="784" y="312"/>
                  </a:moveTo>
                  <a:lnTo>
                    <a:pt x="725" y="280"/>
                  </a:lnTo>
                  <a:lnTo>
                    <a:pt x="708" y="208"/>
                  </a:lnTo>
                  <a:lnTo>
                    <a:pt x="708" y="168"/>
                  </a:lnTo>
                  <a:lnTo>
                    <a:pt x="666" y="120"/>
                  </a:lnTo>
                  <a:lnTo>
                    <a:pt x="632" y="96"/>
                  </a:lnTo>
                  <a:lnTo>
                    <a:pt x="581" y="56"/>
                  </a:lnTo>
                  <a:lnTo>
                    <a:pt x="548" y="16"/>
                  </a:lnTo>
                  <a:lnTo>
                    <a:pt x="506" y="0"/>
                  </a:lnTo>
                  <a:lnTo>
                    <a:pt x="472" y="48"/>
                  </a:lnTo>
                  <a:lnTo>
                    <a:pt x="396" y="72"/>
                  </a:lnTo>
                  <a:lnTo>
                    <a:pt x="371" y="96"/>
                  </a:lnTo>
                  <a:lnTo>
                    <a:pt x="337" y="80"/>
                  </a:lnTo>
                  <a:lnTo>
                    <a:pt x="287" y="88"/>
                  </a:lnTo>
                  <a:lnTo>
                    <a:pt x="253" y="88"/>
                  </a:lnTo>
                  <a:lnTo>
                    <a:pt x="219" y="80"/>
                  </a:lnTo>
                  <a:lnTo>
                    <a:pt x="185" y="104"/>
                  </a:lnTo>
                  <a:lnTo>
                    <a:pt x="160" y="128"/>
                  </a:lnTo>
                  <a:lnTo>
                    <a:pt x="135" y="168"/>
                  </a:lnTo>
                  <a:lnTo>
                    <a:pt x="110" y="224"/>
                  </a:lnTo>
                  <a:lnTo>
                    <a:pt x="84" y="256"/>
                  </a:lnTo>
                  <a:lnTo>
                    <a:pt x="76" y="280"/>
                  </a:lnTo>
                  <a:lnTo>
                    <a:pt x="67" y="320"/>
                  </a:lnTo>
                  <a:lnTo>
                    <a:pt x="51" y="328"/>
                  </a:lnTo>
                  <a:lnTo>
                    <a:pt x="25" y="344"/>
                  </a:lnTo>
                  <a:lnTo>
                    <a:pt x="0" y="352"/>
                  </a:lnTo>
                  <a:lnTo>
                    <a:pt x="17" y="368"/>
                  </a:lnTo>
                  <a:lnTo>
                    <a:pt x="51" y="392"/>
                  </a:lnTo>
                  <a:lnTo>
                    <a:pt x="59" y="416"/>
                  </a:lnTo>
                  <a:lnTo>
                    <a:pt x="93" y="440"/>
                  </a:lnTo>
                  <a:lnTo>
                    <a:pt x="135" y="456"/>
                  </a:lnTo>
                  <a:lnTo>
                    <a:pt x="118" y="488"/>
                  </a:lnTo>
                  <a:lnTo>
                    <a:pt x="160" y="496"/>
                  </a:lnTo>
                  <a:lnTo>
                    <a:pt x="202" y="512"/>
                  </a:lnTo>
                  <a:lnTo>
                    <a:pt x="244" y="488"/>
                  </a:lnTo>
                  <a:lnTo>
                    <a:pt x="244" y="528"/>
                  </a:lnTo>
                  <a:lnTo>
                    <a:pt x="261" y="536"/>
                  </a:lnTo>
                  <a:lnTo>
                    <a:pt x="253" y="544"/>
                  </a:lnTo>
                  <a:lnTo>
                    <a:pt x="287" y="560"/>
                  </a:lnTo>
                  <a:lnTo>
                    <a:pt x="287" y="584"/>
                  </a:lnTo>
                  <a:lnTo>
                    <a:pt x="320" y="592"/>
                  </a:lnTo>
                  <a:lnTo>
                    <a:pt x="413" y="592"/>
                  </a:lnTo>
                  <a:lnTo>
                    <a:pt x="438" y="568"/>
                  </a:lnTo>
                  <a:lnTo>
                    <a:pt x="463" y="568"/>
                  </a:lnTo>
                  <a:lnTo>
                    <a:pt x="514" y="568"/>
                  </a:lnTo>
                  <a:lnTo>
                    <a:pt x="565" y="560"/>
                  </a:lnTo>
                  <a:lnTo>
                    <a:pt x="607" y="504"/>
                  </a:lnTo>
                  <a:lnTo>
                    <a:pt x="657" y="488"/>
                  </a:lnTo>
                  <a:lnTo>
                    <a:pt x="699" y="480"/>
                  </a:lnTo>
                  <a:lnTo>
                    <a:pt x="725" y="488"/>
                  </a:lnTo>
                  <a:lnTo>
                    <a:pt x="767" y="480"/>
                  </a:lnTo>
                  <a:lnTo>
                    <a:pt x="775" y="496"/>
                  </a:lnTo>
                  <a:lnTo>
                    <a:pt x="826" y="496"/>
                  </a:lnTo>
                  <a:lnTo>
                    <a:pt x="834" y="416"/>
                  </a:lnTo>
                  <a:lnTo>
                    <a:pt x="851" y="376"/>
                  </a:lnTo>
                  <a:lnTo>
                    <a:pt x="885" y="336"/>
                  </a:lnTo>
                  <a:lnTo>
                    <a:pt x="893" y="312"/>
                  </a:lnTo>
                  <a:lnTo>
                    <a:pt x="876" y="288"/>
                  </a:lnTo>
                  <a:lnTo>
                    <a:pt x="834" y="288"/>
                  </a:lnTo>
                  <a:lnTo>
                    <a:pt x="784" y="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27" name="Freeform 81"/>
            <p:cNvSpPr>
              <a:spLocks/>
            </p:cNvSpPr>
            <p:nvPr/>
          </p:nvSpPr>
          <p:spPr bwMode="auto">
            <a:xfrm>
              <a:off x="5235" y="2664"/>
              <a:ext cx="354" cy="336"/>
            </a:xfrm>
            <a:custGeom>
              <a:avLst/>
              <a:gdLst>
                <a:gd name="T0" fmla="*/ 270 w 354"/>
                <a:gd name="T1" fmla="*/ 248 h 336"/>
                <a:gd name="T2" fmla="*/ 253 w 354"/>
                <a:gd name="T3" fmla="*/ 224 h 336"/>
                <a:gd name="T4" fmla="*/ 278 w 354"/>
                <a:gd name="T5" fmla="*/ 200 h 336"/>
                <a:gd name="T6" fmla="*/ 354 w 354"/>
                <a:gd name="T7" fmla="*/ 184 h 336"/>
                <a:gd name="T8" fmla="*/ 337 w 354"/>
                <a:gd name="T9" fmla="*/ 152 h 336"/>
                <a:gd name="T10" fmla="*/ 303 w 354"/>
                <a:gd name="T11" fmla="*/ 120 h 336"/>
                <a:gd name="T12" fmla="*/ 287 w 354"/>
                <a:gd name="T13" fmla="*/ 88 h 336"/>
                <a:gd name="T14" fmla="*/ 236 w 354"/>
                <a:gd name="T15" fmla="*/ 72 h 336"/>
                <a:gd name="T16" fmla="*/ 211 w 354"/>
                <a:gd name="T17" fmla="*/ 24 h 336"/>
                <a:gd name="T18" fmla="*/ 152 w 354"/>
                <a:gd name="T19" fmla="*/ 24 h 336"/>
                <a:gd name="T20" fmla="*/ 84 w 354"/>
                <a:gd name="T21" fmla="*/ 0 h 336"/>
                <a:gd name="T22" fmla="*/ 59 w 354"/>
                <a:gd name="T23" fmla="*/ 24 h 336"/>
                <a:gd name="T24" fmla="*/ 8 w 354"/>
                <a:gd name="T25" fmla="*/ 32 h 336"/>
                <a:gd name="T26" fmla="*/ 0 w 354"/>
                <a:gd name="T27" fmla="*/ 40 h 336"/>
                <a:gd name="T28" fmla="*/ 34 w 354"/>
                <a:gd name="T29" fmla="*/ 56 h 336"/>
                <a:gd name="T30" fmla="*/ 67 w 354"/>
                <a:gd name="T31" fmla="*/ 96 h 336"/>
                <a:gd name="T32" fmla="*/ 118 w 354"/>
                <a:gd name="T33" fmla="*/ 136 h 336"/>
                <a:gd name="T34" fmla="*/ 152 w 354"/>
                <a:gd name="T35" fmla="*/ 160 h 336"/>
                <a:gd name="T36" fmla="*/ 194 w 354"/>
                <a:gd name="T37" fmla="*/ 208 h 336"/>
                <a:gd name="T38" fmla="*/ 194 w 354"/>
                <a:gd name="T39" fmla="*/ 248 h 336"/>
                <a:gd name="T40" fmla="*/ 211 w 354"/>
                <a:gd name="T41" fmla="*/ 320 h 336"/>
                <a:gd name="T42" fmla="*/ 236 w 354"/>
                <a:gd name="T43" fmla="*/ 336 h 336"/>
                <a:gd name="T44" fmla="*/ 253 w 354"/>
                <a:gd name="T45" fmla="*/ 312 h 336"/>
                <a:gd name="T46" fmla="*/ 270 w 354"/>
                <a:gd name="T47" fmla="*/ 248 h 3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54" h="336">
                  <a:moveTo>
                    <a:pt x="270" y="248"/>
                  </a:moveTo>
                  <a:lnTo>
                    <a:pt x="253" y="224"/>
                  </a:lnTo>
                  <a:lnTo>
                    <a:pt x="278" y="200"/>
                  </a:lnTo>
                  <a:lnTo>
                    <a:pt x="354" y="184"/>
                  </a:lnTo>
                  <a:lnTo>
                    <a:pt x="337" y="152"/>
                  </a:lnTo>
                  <a:lnTo>
                    <a:pt x="303" y="120"/>
                  </a:lnTo>
                  <a:lnTo>
                    <a:pt x="287" y="88"/>
                  </a:lnTo>
                  <a:lnTo>
                    <a:pt x="236" y="72"/>
                  </a:lnTo>
                  <a:lnTo>
                    <a:pt x="211" y="24"/>
                  </a:lnTo>
                  <a:lnTo>
                    <a:pt x="152" y="24"/>
                  </a:lnTo>
                  <a:lnTo>
                    <a:pt x="84" y="0"/>
                  </a:lnTo>
                  <a:lnTo>
                    <a:pt x="59" y="24"/>
                  </a:lnTo>
                  <a:lnTo>
                    <a:pt x="8" y="32"/>
                  </a:lnTo>
                  <a:lnTo>
                    <a:pt x="0" y="40"/>
                  </a:lnTo>
                  <a:lnTo>
                    <a:pt x="34" y="56"/>
                  </a:lnTo>
                  <a:lnTo>
                    <a:pt x="67" y="96"/>
                  </a:lnTo>
                  <a:lnTo>
                    <a:pt x="118" y="136"/>
                  </a:lnTo>
                  <a:lnTo>
                    <a:pt x="152" y="160"/>
                  </a:lnTo>
                  <a:lnTo>
                    <a:pt x="194" y="208"/>
                  </a:lnTo>
                  <a:lnTo>
                    <a:pt x="194" y="248"/>
                  </a:lnTo>
                  <a:lnTo>
                    <a:pt x="211" y="320"/>
                  </a:lnTo>
                  <a:lnTo>
                    <a:pt x="236" y="336"/>
                  </a:lnTo>
                  <a:lnTo>
                    <a:pt x="253" y="312"/>
                  </a:lnTo>
                  <a:lnTo>
                    <a:pt x="270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28" name="Freeform 82"/>
            <p:cNvSpPr>
              <a:spLocks/>
            </p:cNvSpPr>
            <p:nvPr/>
          </p:nvSpPr>
          <p:spPr bwMode="auto">
            <a:xfrm>
              <a:off x="4721" y="2704"/>
              <a:ext cx="893" cy="592"/>
            </a:xfrm>
            <a:custGeom>
              <a:avLst/>
              <a:gdLst>
                <a:gd name="T0" fmla="*/ 784 w 893"/>
                <a:gd name="T1" fmla="*/ 312 h 592"/>
                <a:gd name="T2" fmla="*/ 725 w 893"/>
                <a:gd name="T3" fmla="*/ 280 h 592"/>
                <a:gd name="T4" fmla="*/ 708 w 893"/>
                <a:gd name="T5" fmla="*/ 208 h 592"/>
                <a:gd name="T6" fmla="*/ 708 w 893"/>
                <a:gd name="T7" fmla="*/ 168 h 592"/>
                <a:gd name="T8" fmla="*/ 666 w 893"/>
                <a:gd name="T9" fmla="*/ 120 h 592"/>
                <a:gd name="T10" fmla="*/ 632 w 893"/>
                <a:gd name="T11" fmla="*/ 96 h 592"/>
                <a:gd name="T12" fmla="*/ 581 w 893"/>
                <a:gd name="T13" fmla="*/ 56 h 592"/>
                <a:gd name="T14" fmla="*/ 548 w 893"/>
                <a:gd name="T15" fmla="*/ 16 h 592"/>
                <a:gd name="T16" fmla="*/ 506 w 893"/>
                <a:gd name="T17" fmla="*/ 0 h 592"/>
                <a:gd name="T18" fmla="*/ 472 w 893"/>
                <a:gd name="T19" fmla="*/ 48 h 592"/>
                <a:gd name="T20" fmla="*/ 396 w 893"/>
                <a:gd name="T21" fmla="*/ 72 h 592"/>
                <a:gd name="T22" fmla="*/ 371 w 893"/>
                <a:gd name="T23" fmla="*/ 96 h 592"/>
                <a:gd name="T24" fmla="*/ 337 w 893"/>
                <a:gd name="T25" fmla="*/ 80 h 592"/>
                <a:gd name="T26" fmla="*/ 287 w 893"/>
                <a:gd name="T27" fmla="*/ 88 h 592"/>
                <a:gd name="T28" fmla="*/ 253 w 893"/>
                <a:gd name="T29" fmla="*/ 88 h 592"/>
                <a:gd name="T30" fmla="*/ 219 w 893"/>
                <a:gd name="T31" fmla="*/ 80 h 592"/>
                <a:gd name="T32" fmla="*/ 185 w 893"/>
                <a:gd name="T33" fmla="*/ 104 h 592"/>
                <a:gd name="T34" fmla="*/ 185 w 893"/>
                <a:gd name="T35" fmla="*/ 104 h 592"/>
                <a:gd name="T36" fmla="*/ 160 w 893"/>
                <a:gd name="T37" fmla="*/ 128 h 592"/>
                <a:gd name="T38" fmla="*/ 135 w 893"/>
                <a:gd name="T39" fmla="*/ 168 h 592"/>
                <a:gd name="T40" fmla="*/ 110 w 893"/>
                <a:gd name="T41" fmla="*/ 224 h 592"/>
                <a:gd name="T42" fmla="*/ 84 w 893"/>
                <a:gd name="T43" fmla="*/ 256 h 592"/>
                <a:gd name="T44" fmla="*/ 76 w 893"/>
                <a:gd name="T45" fmla="*/ 280 h 592"/>
                <a:gd name="T46" fmla="*/ 67 w 893"/>
                <a:gd name="T47" fmla="*/ 320 h 592"/>
                <a:gd name="T48" fmla="*/ 51 w 893"/>
                <a:gd name="T49" fmla="*/ 328 h 592"/>
                <a:gd name="T50" fmla="*/ 25 w 893"/>
                <a:gd name="T51" fmla="*/ 344 h 592"/>
                <a:gd name="T52" fmla="*/ 0 w 893"/>
                <a:gd name="T53" fmla="*/ 352 h 592"/>
                <a:gd name="T54" fmla="*/ 17 w 893"/>
                <a:gd name="T55" fmla="*/ 368 h 592"/>
                <a:gd name="T56" fmla="*/ 51 w 893"/>
                <a:gd name="T57" fmla="*/ 392 h 592"/>
                <a:gd name="T58" fmla="*/ 59 w 893"/>
                <a:gd name="T59" fmla="*/ 416 h 592"/>
                <a:gd name="T60" fmla="*/ 93 w 893"/>
                <a:gd name="T61" fmla="*/ 440 h 592"/>
                <a:gd name="T62" fmla="*/ 135 w 893"/>
                <a:gd name="T63" fmla="*/ 456 h 592"/>
                <a:gd name="T64" fmla="*/ 118 w 893"/>
                <a:gd name="T65" fmla="*/ 488 h 592"/>
                <a:gd name="T66" fmla="*/ 160 w 893"/>
                <a:gd name="T67" fmla="*/ 496 h 592"/>
                <a:gd name="T68" fmla="*/ 202 w 893"/>
                <a:gd name="T69" fmla="*/ 512 h 592"/>
                <a:gd name="T70" fmla="*/ 244 w 893"/>
                <a:gd name="T71" fmla="*/ 488 h 592"/>
                <a:gd name="T72" fmla="*/ 244 w 893"/>
                <a:gd name="T73" fmla="*/ 528 h 592"/>
                <a:gd name="T74" fmla="*/ 261 w 893"/>
                <a:gd name="T75" fmla="*/ 536 h 592"/>
                <a:gd name="T76" fmla="*/ 253 w 893"/>
                <a:gd name="T77" fmla="*/ 544 h 592"/>
                <a:gd name="T78" fmla="*/ 287 w 893"/>
                <a:gd name="T79" fmla="*/ 560 h 592"/>
                <a:gd name="T80" fmla="*/ 287 w 893"/>
                <a:gd name="T81" fmla="*/ 584 h 592"/>
                <a:gd name="T82" fmla="*/ 320 w 893"/>
                <a:gd name="T83" fmla="*/ 592 h 592"/>
                <a:gd name="T84" fmla="*/ 413 w 893"/>
                <a:gd name="T85" fmla="*/ 592 h 592"/>
                <a:gd name="T86" fmla="*/ 438 w 893"/>
                <a:gd name="T87" fmla="*/ 568 h 592"/>
                <a:gd name="T88" fmla="*/ 463 w 893"/>
                <a:gd name="T89" fmla="*/ 568 h 592"/>
                <a:gd name="T90" fmla="*/ 514 w 893"/>
                <a:gd name="T91" fmla="*/ 568 h 592"/>
                <a:gd name="T92" fmla="*/ 565 w 893"/>
                <a:gd name="T93" fmla="*/ 560 h 592"/>
                <a:gd name="T94" fmla="*/ 607 w 893"/>
                <a:gd name="T95" fmla="*/ 504 h 592"/>
                <a:gd name="T96" fmla="*/ 657 w 893"/>
                <a:gd name="T97" fmla="*/ 488 h 592"/>
                <a:gd name="T98" fmla="*/ 699 w 893"/>
                <a:gd name="T99" fmla="*/ 480 h 592"/>
                <a:gd name="T100" fmla="*/ 725 w 893"/>
                <a:gd name="T101" fmla="*/ 488 h 592"/>
                <a:gd name="T102" fmla="*/ 767 w 893"/>
                <a:gd name="T103" fmla="*/ 480 h 592"/>
                <a:gd name="T104" fmla="*/ 775 w 893"/>
                <a:gd name="T105" fmla="*/ 496 h 592"/>
                <a:gd name="T106" fmla="*/ 826 w 893"/>
                <a:gd name="T107" fmla="*/ 496 h 592"/>
                <a:gd name="T108" fmla="*/ 834 w 893"/>
                <a:gd name="T109" fmla="*/ 416 h 592"/>
                <a:gd name="T110" fmla="*/ 851 w 893"/>
                <a:gd name="T111" fmla="*/ 376 h 592"/>
                <a:gd name="T112" fmla="*/ 885 w 893"/>
                <a:gd name="T113" fmla="*/ 336 h 592"/>
                <a:gd name="T114" fmla="*/ 893 w 893"/>
                <a:gd name="T115" fmla="*/ 312 h 592"/>
                <a:gd name="T116" fmla="*/ 876 w 893"/>
                <a:gd name="T117" fmla="*/ 288 h 592"/>
                <a:gd name="T118" fmla="*/ 834 w 893"/>
                <a:gd name="T119" fmla="*/ 288 h 592"/>
                <a:gd name="T120" fmla="*/ 784 w 893"/>
                <a:gd name="T121" fmla="*/ 312 h 59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893" h="592">
                  <a:moveTo>
                    <a:pt x="784" y="312"/>
                  </a:moveTo>
                  <a:lnTo>
                    <a:pt x="725" y="280"/>
                  </a:lnTo>
                  <a:lnTo>
                    <a:pt x="708" y="208"/>
                  </a:lnTo>
                  <a:lnTo>
                    <a:pt x="708" y="168"/>
                  </a:lnTo>
                  <a:lnTo>
                    <a:pt x="666" y="120"/>
                  </a:lnTo>
                  <a:lnTo>
                    <a:pt x="632" y="96"/>
                  </a:lnTo>
                  <a:lnTo>
                    <a:pt x="581" y="56"/>
                  </a:lnTo>
                  <a:lnTo>
                    <a:pt x="548" y="16"/>
                  </a:lnTo>
                  <a:lnTo>
                    <a:pt x="506" y="0"/>
                  </a:lnTo>
                  <a:lnTo>
                    <a:pt x="472" y="48"/>
                  </a:lnTo>
                  <a:lnTo>
                    <a:pt x="396" y="72"/>
                  </a:lnTo>
                  <a:lnTo>
                    <a:pt x="371" y="96"/>
                  </a:lnTo>
                  <a:lnTo>
                    <a:pt x="337" y="80"/>
                  </a:lnTo>
                  <a:lnTo>
                    <a:pt x="287" y="88"/>
                  </a:lnTo>
                  <a:lnTo>
                    <a:pt x="253" y="88"/>
                  </a:lnTo>
                  <a:lnTo>
                    <a:pt x="219" y="80"/>
                  </a:lnTo>
                  <a:lnTo>
                    <a:pt x="185" y="104"/>
                  </a:lnTo>
                  <a:lnTo>
                    <a:pt x="160" y="128"/>
                  </a:lnTo>
                  <a:lnTo>
                    <a:pt x="135" y="168"/>
                  </a:lnTo>
                  <a:lnTo>
                    <a:pt x="110" y="224"/>
                  </a:lnTo>
                  <a:lnTo>
                    <a:pt x="84" y="256"/>
                  </a:lnTo>
                  <a:lnTo>
                    <a:pt x="76" y="280"/>
                  </a:lnTo>
                  <a:lnTo>
                    <a:pt x="67" y="320"/>
                  </a:lnTo>
                  <a:lnTo>
                    <a:pt x="51" y="328"/>
                  </a:lnTo>
                  <a:lnTo>
                    <a:pt x="25" y="344"/>
                  </a:lnTo>
                  <a:lnTo>
                    <a:pt x="0" y="352"/>
                  </a:lnTo>
                  <a:lnTo>
                    <a:pt x="17" y="368"/>
                  </a:lnTo>
                  <a:lnTo>
                    <a:pt x="51" y="392"/>
                  </a:lnTo>
                  <a:lnTo>
                    <a:pt x="59" y="416"/>
                  </a:lnTo>
                  <a:lnTo>
                    <a:pt x="93" y="440"/>
                  </a:lnTo>
                  <a:lnTo>
                    <a:pt x="135" y="456"/>
                  </a:lnTo>
                  <a:lnTo>
                    <a:pt x="118" y="488"/>
                  </a:lnTo>
                  <a:lnTo>
                    <a:pt x="160" y="496"/>
                  </a:lnTo>
                  <a:lnTo>
                    <a:pt x="202" y="512"/>
                  </a:lnTo>
                  <a:lnTo>
                    <a:pt x="244" y="488"/>
                  </a:lnTo>
                  <a:lnTo>
                    <a:pt x="244" y="528"/>
                  </a:lnTo>
                  <a:lnTo>
                    <a:pt x="261" y="536"/>
                  </a:lnTo>
                  <a:lnTo>
                    <a:pt x="253" y="544"/>
                  </a:lnTo>
                  <a:lnTo>
                    <a:pt x="287" y="560"/>
                  </a:lnTo>
                  <a:lnTo>
                    <a:pt x="287" y="584"/>
                  </a:lnTo>
                  <a:lnTo>
                    <a:pt x="320" y="592"/>
                  </a:lnTo>
                  <a:lnTo>
                    <a:pt x="413" y="592"/>
                  </a:lnTo>
                  <a:lnTo>
                    <a:pt x="438" y="568"/>
                  </a:lnTo>
                  <a:lnTo>
                    <a:pt x="463" y="568"/>
                  </a:lnTo>
                  <a:lnTo>
                    <a:pt x="514" y="568"/>
                  </a:lnTo>
                  <a:lnTo>
                    <a:pt x="565" y="560"/>
                  </a:lnTo>
                  <a:lnTo>
                    <a:pt x="607" y="504"/>
                  </a:lnTo>
                  <a:lnTo>
                    <a:pt x="657" y="488"/>
                  </a:lnTo>
                  <a:lnTo>
                    <a:pt x="699" y="480"/>
                  </a:lnTo>
                  <a:lnTo>
                    <a:pt x="725" y="488"/>
                  </a:lnTo>
                  <a:lnTo>
                    <a:pt x="767" y="480"/>
                  </a:lnTo>
                  <a:lnTo>
                    <a:pt x="775" y="496"/>
                  </a:lnTo>
                  <a:lnTo>
                    <a:pt x="826" y="496"/>
                  </a:lnTo>
                  <a:lnTo>
                    <a:pt x="834" y="416"/>
                  </a:lnTo>
                  <a:lnTo>
                    <a:pt x="851" y="376"/>
                  </a:lnTo>
                  <a:lnTo>
                    <a:pt x="885" y="336"/>
                  </a:lnTo>
                  <a:lnTo>
                    <a:pt x="893" y="312"/>
                  </a:lnTo>
                  <a:lnTo>
                    <a:pt x="876" y="288"/>
                  </a:lnTo>
                  <a:lnTo>
                    <a:pt x="834" y="288"/>
                  </a:lnTo>
                  <a:lnTo>
                    <a:pt x="784" y="3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29" name="Freeform 83"/>
            <p:cNvSpPr>
              <a:spLocks/>
            </p:cNvSpPr>
            <p:nvPr/>
          </p:nvSpPr>
          <p:spPr bwMode="auto">
            <a:xfrm>
              <a:off x="5235" y="2664"/>
              <a:ext cx="354" cy="336"/>
            </a:xfrm>
            <a:custGeom>
              <a:avLst/>
              <a:gdLst>
                <a:gd name="T0" fmla="*/ 270 w 354"/>
                <a:gd name="T1" fmla="*/ 248 h 336"/>
                <a:gd name="T2" fmla="*/ 253 w 354"/>
                <a:gd name="T3" fmla="*/ 224 h 336"/>
                <a:gd name="T4" fmla="*/ 278 w 354"/>
                <a:gd name="T5" fmla="*/ 200 h 336"/>
                <a:gd name="T6" fmla="*/ 354 w 354"/>
                <a:gd name="T7" fmla="*/ 184 h 336"/>
                <a:gd name="T8" fmla="*/ 337 w 354"/>
                <a:gd name="T9" fmla="*/ 152 h 336"/>
                <a:gd name="T10" fmla="*/ 303 w 354"/>
                <a:gd name="T11" fmla="*/ 120 h 336"/>
                <a:gd name="T12" fmla="*/ 287 w 354"/>
                <a:gd name="T13" fmla="*/ 88 h 336"/>
                <a:gd name="T14" fmla="*/ 236 w 354"/>
                <a:gd name="T15" fmla="*/ 72 h 336"/>
                <a:gd name="T16" fmla="*/ 211 w 354"/>
                <a:gd name="T17" fmla="*/ 24 h 336"/>
                <a:gd name="T18" fmla="*/ 152 w 354"/>
                <a:gd name="T19" fmla="*/ 24 h 336"/>
                <a:gd name="T20" fmla="*/ 84 w 354"/>
                <a:gd name="T21" fmla="*/ 0 h 336"/>
                <a:gd name="T22" fmla="*/ 59 w 354"/>
                <a:gd name="T23" fmla="*/ 24 h 336"/>
                <a:gd name="T24" fmla="*/ 8 w 354"/>
                <a:gd name="T25" fmla="*/ 32 h 336"/>
                <a:gd name="T26" fmla="*/ 0 w 354"/>
                <a:gd name="T27" fmla="*/ 40 h 336"/>
                <a:gd name="T28" fmla="*/ 34 w 354"/>
                <a:gd name="T29" fmla="*/ 56 h 336"/>
                <a:gd name="T30" fmla="*/ 67 w 354"/>
                <a:gd name="T31" fmla="*/ 96 h 336"/>
                <a:gd name="T32" fmla="*/ 118 w 354"/>
                <a:gd name="T33" fmla="*/ 136 h 336"/>
                <a:gd name="T34" fmla="*/ 152 w 354"/>
                <a:gd name="T35" fmla="*/ 160 h 336"/>
                <a:gd name="T36" fmla="*/ 194 w 354"/>
                <a:gd name="T37" fmla="*/ 208 h 336"/>
                <a:gd name="T38" fmla="*/ 194 w 354"/>
                <a:gd name="T39" fmla="*/ 248 h 336"/>
                <a:gd name="T40" fmla="*/ 211 w 354"/>
                <a:gd name="T41" fmla="*/ 320 h 336"/>
                <a:gd name="T42" fmla="*/ 236 w 354"/>
                <a:gd name="T43" fmla="*/ 336 h 336"/>
                <a:gd name="T44" fmla="*/ 253 w 354"/>
                <a:gd name="T45" fmla="*/ 312 h 336"/>
                <a:gd name="T46" fmla="*/ 270 w 354"/>
                <a:gd name="T47" fmla="*/ 248 h 3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54" h="336">
                  <a:moveTo>
                    <a:pt x="270" y="248"/>
                  </a:moveTo>
                  <a:lnTo>
                    <a:pt x="253" y="224"/>
                  </a:lnTo>
                  <a:lnTo>
                    <a:pt x="278" y="200"/>
                  </a:lnTo>
                  <a:lnTo>
                    <a:pt x="354" y="184"/>
                  </a:lnTo>
                  <a:lnTo>
                    <a:pt x="337" y="152"/>
                  </a:lnTo>
                  <a:lnTo>
                    <a:pt x="303" y="120"/>
                  </a:lnTo>
                  <a:lnTo>
                    <a:pt x="287" y="88"/>
                  </a:lnTo>
                  <a:lnTo>
                    <a:pt x="236" y="72"/>
                  </a:lnTo>
                  <a:lnTo>
                    <a:pt x="211" y="24"/>
                  </a:lnTo>
                  <a:lnTo>
                    <a:pt x="152" y="24"/>
                  </a:lnTo>
                  <a:lnTo>
                    <a:pt x="84" y="0"/>
                  </a:lnTo>
                  <a:lnTo>
                    <a:pt x="59" y="24"/>
                  </a:lnTo>
                  <a:lnTo>
                    <a:pt x="8" y="32"/>
                  </a:lnTo>
                  <a:lnTo>
                    <a:pt x="0" y="40"/>
                  </a:lnTo>
                  <a:lnTo>
                    <a:pt x="34" y="56"/>
                  </a:lnTo>
                  <a:lnTo>
                    <a:pt x="67" y="96"/>
                  </a:lnTo>
                  <a:lnTo>
                    <a:pt x="118" y="136"/>
                  </a:lnTo>
                  <a:lnTo>
                    <a:pt x="152" y="160"/>
                  </a:lnTo>
                  <a:lnTo>
                    <a:pt x="194" y="208"/>
                  </a:lnTo>
                  <a:lnTo>
                    <a:pt x="194" y="248"/>
                  </a:lnTo>
                  <a:lnTo>
                    <a:pt x="211" y="320"/>
                  </a:lnTo>
                  <a:lnTo>
                    <a:pt x="236" y="336"/>
                  </a:lnTo>
                  <a:lnTo>
                    <a:pt x="253" y="312"/>
                  </a:lnTo>
                  <a:lnTo>
                    <a:pt x="270" y="2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30" name="Freeform 84"/>
            <p:cNvSpPr>
              <a:spLocks/>
            </p:cNvSpPr>
            <p:nvPr/>
          </p:nvSpPr>
          <p:spPr bwMode="auto">
            <a:xfrm>
              <a:off x="4089" y="2040"/>
              <a:ext cx="860" cy="656"/>
            </a:xfrm>
            <a:custGeom>
              <a:avLst/>
              <a:gdLst>
                <a:gd name="T0" fmla="*/ 775 w 860"/>
                <a:gd name="T1" fmla="*/ 560 h 656"/>
                <a:gd name="T2" fmla="*/ 826 w 860"/>
                <a:gd name="T3" fmla="*/ 464 h 656"/>
                <a:gd name="T4" fmla="*/ 860 w 860"/>
                <a:gd name="T5" fmla="*/ 456 h 656"/>
                <a:gd name="T6" fmla="*/ 851 w 860"/>
                <a:gd name="T7" fmla="*/ 416 h 656"/>
                <a:gd name="T8" fmla="*/ 817 w 860"/>
                <a:gd name="T9" fmla="*/ 352 h 656"/>
                <a:gd name="T10" fmla="*/ 792 w 860"/>
                <a:gd name="T11" fmla="*/ 320 h 656"/>
                <a:gd name="T12" fmla="*/ 784 w 860"/>
                <a:gd name="T13" fmla="*/ 264 h 656"/>
                <a:gd name="T14" fmla="*/ 750 w 860"/>
                <a:gd name="T15" fmla="*/ 256 h 656"/>
                <a:gd name="T16" fmla="*/ 750 w 860"/>
                <a:gd name="T17" fmla="*/ 232 h 656"/>
                <a:gd name="T18" fmla="*/ 792 w 860"/>
                <a:gd name="T19" fmla="*/ 184 h 656"/>
                <a:gd name="T20" fmla="*/ 750 w 860"/>
                <a:gd name="T21" fmla="*/ 104 h 656"/>
                <a:gd name="T22" fmla="*/ 725 w 860"/>
                <a:gd name="T23" fmla="*/ 40 h 656"/>
                <a:gd name="T24" fmla="*/ 666 w 860"/>
                <a:gd name="T25" fmla="*/ 16 h 656"/>
                <a:gd name="T26" fmla="*/ 531 w 860"/>
                <a:gd name="T27" fmla="*/ 40 h 656"/>
                <a:gd name="T28" fmla="*/ 447 w 860"/>
                <a:gd name="T29" fmla="*/ 24 h 656"/>
                <a:gd name="T30" fmla="*/ 405 w 860"/>
                <a:gd name="T31" fmla="*/ 48 h 656"/>
                <a:gd name="T32" fmla="*/ 362 w 860"/>
                <a:gd name="T33" fmla="*/ 40 h 656"/>
                <a:gd name="T34" fmla="*/ 329 w 860"/>
                <a:gd name="T35" fmla="*/ 24 h 656"/>
                <a:gd name="T36" fmla="*/ 295 w 860"/>
                <a:gd name="T37" fmla="*/ 0 h 656"/>
                <a:gd name="T38" fmla="*/ 253 w 860"/>
                <a:gd name="T39" fmla="*/ 8 h 656"/>
                <a:gd name="T40" fmla="*/ 177 w 860"/>
                <a:gd name="T41" fmla="*/ 40 h 656"/>
                <a:gd name="T42" fmla="*/ 169 w 860"/>
                <a:gd name="T43" fmla="*/ 72 h 656"/>
                <a:gd name="T44" fmla="*/ 126 w 860"/>
                <a:gd name="T45" fmla="*/ 88 h 656"/>
                <a:gd name="T46" fmla="*/ 25 w 860"/>
                <a:gd name="T47" fmla="*/ 128 h 656"/>
                <a:gd name="T48" fmla="*/ 9 w 860"/>
                <a:gd name="T49" fmla="*/ 128 h 656"/>
                <a:gd name="T50" fmla="*/ 17 w 860"/>
                <a:gd name="T51" fmla="*/ 176 h 656"/>
                <a:gd name="T52" fmla="*/ 25 w 860"/>
                <a:gd name="T53" fmla="*/ 208 h 656"/>
                <a:gd name="T54" fmla="*/ 0 w 860"/>
                <a:gd name="T55" fmla="*/ 256 h 656"/>
                <a:gd name="T56" fmla="*/ 51 w 860"/>
                <a:gd name="T57" fmla="*/ 288 h 656"/>
                <a:gd name="T58" fmla="*/ 51 w 860"/>
                <a:gd name="T59" fmla="*/ 320 h 656"/>
                <a:gd name="T60" fmla="*/ 76 w 860"/>
                <a:gd name="T61" fmla="*/ 360 h 656"/>
                <a:gd name="T62" fmla="*/ 59 w 860"/>
                <a:gd name="T63" fmla="*/ 400 h 656"/>
                <a:gd name="T64" fmla="*/ 84 w 860"/>
                <a:gd name="T65" fmla="*/ 432 h 656"/>
                <a:gd name="T66" fmla="*/ 84 w 860"/>
                <a:gd name="T67" fmla="*/ 472 h 656"/>
                <a:gd name="T68" fmla="*/ 126 w 860"/>
                <a:gd name="T69" fmla="*/ 496 h 656"/>
                <a:gd name="T70" fmla="*/ 169 w 860"/>
                <a:gd name="T71" fmla="*/ 512 h 656"/>
                <a:gd name="T72" fmla="*/ 211 w 860"/>
                <a:gd name="T73" fmla="*/ 512 h 656"/>
                <a:gd name="T74" fmla="*/ 202 w 860"/>
                <a:gd name="T75" fmla="*/ 544 h 656"/>
                <a:gd name="T76" fmla="*/ 244 w 860"/>
                <a:gd name="T77" fmla="*/ 576 h 656"/>
                <a:gd name="T78" fmla="*/ 270 w 860"/>
                <a:gd name="T79" fmla="*/ 560 h 656"/>
                <a:gd name="T80" fmla="*/ 270 w 860"/>
                <a:gd name="T81" fmla="*/ 536 h 656"/>
                <a:gd name="T82" fmla="*/ 320 w 860"/>
                <a:gd name="T83" fmla="*/ 552 h 656"/>
                <a:gd name="T84" fmla="*/ 337 w 860"/>
                <a:gd name="T85" fmla="*/ 576 h 656"/>
                <a:gd name="T86" fmla="*/ 379 w 860"/>
                <a:gd name="T87" fmla="*/ 584 h 656"/>
                <a:gd name="T88" fmla="*/ 421 w 860"/>
                <a:gd name="T89" fmla="*/ 592 h 656"/>
                <a:gd name="T90" fmla="*/ 438 w 860"/>
                <a:gd name="T91" fmla="*/ 624 h 656"/>
                <a:gd name="T92" fmla="*/ 464 w 860"/>
                <a:gd name="T93" fmla="*/ 640 h 656"/>
                <a:gd name="T94" fmla="*/ 497 w 860"/>
                <a:gd name="T95" fmla="*/ 616 h 656"/>
                <a:gd name="T96" fmla="*/ 523 w 860"/>
                <a:gd name="T97" fmla="*/ 640 h 656"/>
                <a:gd name="T98" fmla="*/ 531 w 860"/>
                <a:gd name="T99" fmla="*/ 656 h 656"/>
                <a:gd name="T100" fmla="*/ 556 w 860"/>
                <a:gd name="T101" fmla="*/ 656 h 656"/>
                <a:gd name="T102" fmla="*/ 581 w 860"/>
                <a:gd name="T103" fmla="*/ 632 h 656"/>
                <a:gd name="T104" fmla="*/ 615 w 860"/>
                <a:gd name="T105" fmla="*/ 632 h 656"/>
                <a:gd name="T106" fmla="*/ 640 w 860"/>
                <a:gd name="T107" fmla="*/ 616 h 656"/>
                <a:gd name="T108" fmla="*/ 683 w 860"/>
                <a:gd name="T109" fmla="*/ 616 h 656"/>
                <a:gd name="T110" fmla="*/ 708 w 860"/>
                <a:gd name="T111" fmla="*/ 624 h 656"/>
                <a:gd name="T112" fmla="*/ 767 w 860"/>
                <a:gd name="T113" fmla="*/ 632 h 656"/>
                <a:gd name="T114" fmla="*/ 758 w 860"/>
                <a:gd name="T115" fmla="*/ 640 h 656"/>
                <a:gd name="T116" fmla="*/ 792 w 860"/>
                <a:gd name="T117" fmla="*/ 632 h 656"/>
                <a:gd name="T118" fmla="*/ 775 w 860"/>
                <a:gd name="T119" fmla="*/ 560 h 6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60" h="656">
                  <a:moveTo>
                    <a:pt x="775" y="560"/>
                  </a:moveTo>
                  <a:lnTo>
                    <a:pt x="826" y="464"/>
                  </a:lnTo>
                  <a:lnTo>
                    <a:pt x="860" y="456"/>
                  </a:lnTo>
                  <a:lnTo>
                    <a:pt x="851" y="416"/>
                  </a:lnTo>
                  <a:lnTo>
                    <a:pt x="817" y="352"/>
                  </a:lnTo>
                  <a:lnTo>
                    <a:pt x="792" y="320"/>
                  </a:lnTo>
                  <a:lnTo>
                    <a:pt x="784" y="264"/>
                  </a:lnTo>
                  <a:lnTo>
                    <a:pt x="750" y="256"/>
                  </a:lnTo>
                  <a:lnTo>
                    <a:pt x="750" y="232"/>
                  </a:lnTo>
                  <a:lnTo>
                    <a:pt x="792" y="184"/>
                  </a:lnTo>
                  <a:lnTo>
                    <a:pt x="750" y="104"/>
                  </a:lnTo>
                  <a:lnTo>
                    <a:pt x="725" y="40"/>
                  </a:lnTo>
                  <a:lnTo>
                    <a:pt x="666" y="16"/>
                  </a:lnTo>
                  <a:lnTo>
                    <a:pt x="531" y="40"/>
                  </a:lnTo>
                  <a:lnTo>
                    <a:pt x="447" y="24"/>
                  </a:lnTo>
                  <a:lnTo>
                    <a:pt x="405" y="48"/>
                  </a:lnTo>
                  <a:lnTo>
                    <a:pt x="362" y="40"/>
                  </a:lnTo>
                  <a:lnTo>
                    <a:pt x="329" y="24"/>
                  </a:lnTo>
                  <a:lnTo>
                    <a:pt x="295" y="0"/>
                  </a:lnTo>
                  <a:lnTo>
                    <a:pt x="253" y="8"/>
                  </a:lnTo>
                  <a:lnTo>
                    <a:pt x="177" y="40"/>
                  </a:lnTo>
                  <a:lnTo>
                    <a:pt x="169" y="72"/>
                  </a:lnTo>
                  <a:lnTo>
                    <a:pt x="126" y="88"/>
                  </a:lnTo>
                  <a:lnTo>
                    <a:pt x="25" y="128"/>
                  </a:lnTo>
                  <a:lnTo>
                    <a:pt x="9" y="128"/>
                  </a:lnTo>
                  <a:lnTo>
                    <a:pt x="17" y="176"/>
                  </a:lnTo>
                  <a:lnTo>
                    <a:pt x="25" y="208"/>
                  </a:lnTo>
                  <a:lnTo>
                    <a:pt x="0" y="256"/>
                  </a:lnTo>
                  <a:lnTo>
                    <a:pt x="51" y="288"/>
                  </a:lnTo>
                  <a:lnTo>
                    <a:pt x="51" y="320"/>
                  </a:lnTo>
                  <a:lnTo>
                    <a:pt x="76" y="360"/>
                  </a:lnTo>
                  <a:lnTo>
                    <a:pt x="59" y="400"/>
                  </a:lnTo>
                  <a:lnTo>
                    <a:pt x="84" y="432"/>
                  </a:lnTo>
                  <a:lnTo>
                    <a:pt x="84" y="472"/>
                  </a:lnTo>
                  <a:lnTo>
                    <a:pt x="126" y="496"/>
                  </a:lnTo>
                  <a:lnTo>
                    <a:pt x="169" y="512"/>
                  </a:lnTo>
                  <a:lnTo>
                    <a:pt x="211" y="512"/>
                  </a:lnTo>
                  <a:lnTo>
                    <a:pt x="202" y="544"/>
                  </a:lnTo>
                  <a:lnTo>
                    <a:pt x="244" y="576"/>
                  </a:lnTo>
                  <a:lnTo>
                    <a:pt x="270" y="560"/>
                  </a:lnTo>
                  <a:lnTo>
                    <a:pt x="270" y="536"/>
                  </a:lnTo>
                  <a:lnTo>
                    <a:pt x="320" y="552"/>
                  </a:lnTo>
                  <a:lnTo>
                    <a:pt x="337" y="576"/>
                  </a:lnTo>
                  <a:lnTo>
                    <a:pt x="379" y="584"/>
                  </a:lnTo>
                  <a:lnTo>
                    <a:pt x="421" y="592"/>
                  </a:lnTo>
                  <a:lnTo>
                    <a:pt x="438" y="624"/>
                  </a:lnTo>
                  <a:lnTo>
                    <a:pt x="464" y="640"/>
                  </a:lnTo>
                  <a:lnTo>
                    <a:pt x="497" y="616"/>
                  </a:lnTo>
                  <a:lnTo>
                    <a:pt x="523" y="640"/>
                  </a:lnTo>
                  <a:lnTo>
                    <a:pt x="531" y="656"/>
                  </a:lnTo>
                  <a:lnTo>
                    <a:pt x="556" y="656"/>
                  </a:lnTo>
                  <a:lnTo>
                    <a:pt x="581" y="632"/>
                  </a:lnTo>
                  <a:lnTo>
                    <a:pt x="615" y="632"/>
                  </a:lnTo>
                  <a:lnTo>
                    <a:pt x="640" y="616"/>
                  </a:lnTo>
                  <a:lnTo>
                    <a:pt x="683" y="616"/>
                  </a:lnTo>
                  <a:lnTo>
                    <a:pt x="708" y="624"/>
                  </a:lnTo>
                  <a:lnTo>
                    <a:pt x="767" y="632"/>
                  </a:lnTo>
                  <a:lnTo>
                    <a:pt x="758" y="640"/>
                  </a:lnTo>
                  <a:lnTo>
                    <a:pt x="792" y="632"/>
                  </a:lnTo>
                  <a:lnTo>
                    <a:pt x="775" y="5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31" name="Freeform 85"/>
            <p:cNvSpPr>
              <a:spLocks/>
            </p:cNvSpPr>
            <p:nvPr/>
          </p:nvSpPr>
          <p:spPr bwMode="auto">
            <a:xfrm>
              <a:off x="4536" y="1976"/>
              <a:ext cx="210" cy="112"/>
            </a:xfrm>
            <a:custGeom>
              <a:avLst/>
              <a:gdLst>
                <a:gd name="T0" fmla="*/ 168 w 210"/>
                <a:gd name="T1" fmla="*/ 8 h 112"/>
                <a:gd name="T2" fmla="*/ 109 w 210"/>
                <a:gd name="T3" fmla="*/ 8 h 112"/>
                <a:gd name="T4" fmla="*/ 76 w 210"/>
                <a:gd name="T5" fmla="*/ 0 h 112"/>
                <a:gd name="T6" fmla="*/ 67 w 210"/>
                <a:gd name="T7" fmla="*/ 24 h 112"/>
                <a:gd name="T8" fmla="*/ 42 w 210"/>
                <a:gd name="T9" fmla="*/ 32 h 112"/>
                <a:gd name="T10" fmla="*/ 8 w 210"/>
                <a:gd name="T11" fmla="*/ 48 h 112"/>
                <a:gd name="T12" fmla="*/ 8 w 210"/>
                <a:gd name="T13" fmla="*/ 72 h 112"/>
                <a:gd name="T14" fmla="*/ 0 w 210"/>
                <a:gd name="T15" fmla="*/ 96 h 112"/>
                <a:gd name="T16" fmla="*/ 84 w 210"/>
                <a:gd name="T17" fmla="*/ 112 h 112"/>
                <a:gd name="T18" fmla="*/ 210 w 210"/>
                <a:gd name="T19" fmla="*/ 88 h 112"/>
                <a:gd name="T20" fmla="*/ 193 w 210"/>
                <a:gd name="T21" fmla="*/ 16 h 112"/>
                <a:gd name="T22" fmla="*/ 168 w 210"/>
                <a:gd name="T23" fmla="*/ 8 h 11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10" h="112">
                  <a:moveTo>
                    <a:pt x="168" y="8"/>
                  </a:moveTo>
                  <a:lnTo>
                    <a:pt x="109" y="8"/>
                  </a:lnTo>
                  <a:lnTo>
                    <a:pt x="76" y="0"/>
                  </a:lnTo>
                  <a:lnTo>
                    <a:pt x="67" y="24"/>
                  </a:lnTo>
                  <a:lnTo>
                    <a:pt x="42" y="32"/>
                  </a:lnTo>
                  <a:lnTo>
                    <a:pt x="8" y="48"/>
                  </a:lnTo>
                  <a:lnTo>
                    <a:pt x="8" y="72"/>
                  </a:lnTo>
                  <a:lnTo>
                    <a:pt x="0" y="96"/>
                  </a:lnTo>
                  <a:lnTo>
                    <a:pt x="84" y="112"/>
                  </a:lnTo>
                  <a:lnTo>
                    <a:pt x="210" y="88"/>
                  </a:lnTo>
                  <a:lnTo>
                    <a:pt x="193" y="16"/>
                  </a:lnTo>
                  <a:lnTo>
                    <a:pt x="16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32" name="Freeform 86"/>
            <p:cNvSpPr>
              <a:spLocks/>
            </p:cNvSpPr>
            <p:nvPr/>
          </p:nvSpPr>
          <p:spPr bwMode="auto">
            <a:xfrm>
              <a:off x="4089" y="2040"/>
              <a:ext cx="860" cy="656"/>
            </a:xfrm>
            <a:custGeom>
              <a:avLst/>
              <a:gdLst>
                <a:gd name="T0" fmla="*/ 775 w 860"/>
                <a:gd name="T1" fmla="*/ 560 h 656"/>
                <a:gd name="T2" fmla="*/ 826 w 860"/>
                <a:gd name="T3" fmla="*/ 464 h 656"/>
                <a:gd name="T4" fmla="*/ 860 w 860"/>
                <a:gd name="T5" fmla="*/ 456 h 656"/>
                <a:gd name="T6" fmla="*/ 851 w 860"/>
                <a:gd name="T7" fmla="*/ 416 h 656"/>
                <a:gd name="T8" fmla="*/ 817 w 860"/>
                <a:gd name="T9" fmla="*/ 352 h 656"/>
                <a:gd name="T10" fmla="*/ 792 w 860"/>
                <a:gd name="T11" fmla="*/ 320 h 656"/>
                <a:gd name="T12" fmla="*/ 784 w 860"/>
                <a:gd name="T13" fmla="*/ 264 h 656"/>
                <a:gd name="T14" fmla="*/ 750 w 860"/>
                <a:gd name="T15" fmla="*/ 256 h 656"/>
                <a:gd name="T16" fmla="*/ 750 w 860"/>
                <a:gd name="T17" fmla="*/ 232 h 656"/>
                <a:gd name="T18" fmla="*/ 792 w 860"/>
                <a:gd name="T19" fmla="*/ 184 h 656"/>
                <a:gd name="T20" fmla="*/ 750 w 860"/>
                <a:gd name="T21" fmla="*/ 104 h 656"/>
                <a:gd name="T22" fmla="*/ 725 w 860"/>
                <a:gd name="T23" fmla="*/ 40 h 656"/>
                <a:gd name="T24" fmla="*/ 666 w 860"/>
                <a:gd name="T25" fmla="*/ 16 h 656"/>
                <a:gd name="T26" fmla="*/ 531 w 860"/>
                <a:gd name="T27" fmla="*/ 40 h 656"/>
                <a:gd name="T28" fmla="*/ 447 w 860"/>
                <a:gd name="T29" fmla="*/ 24 h 656"/>
                <a:gd name="T30" fmla="*/ 405 w 860"/>
                <a:gd name="T31" fmla="*/ 48 h 656"/>
                <a:gd name="T32" fmla="*/ 362 w 860"/>
                <a:gd name="T33" fmla="*/ 40 h 656"/>
                <a:gd name="T34" fmla="*/ 329 w 860"/>
                <a:gd name="T35" fmla="*/ 24 h 656"/>
                <a:gd name="T36" fmla="*/ 295 w 860"/>
                <a:gd name="T37" fmla="*/ 0 h 656"/>
                <a:gd name="T38" fmla="*/ 253 w 860"/>
                <a:gd name="T39" fmla="*/ 8 h 656"/>
                <a:gd name="T40" fmla="*/ 177 w 860"/>
                <a:gd name="T41" fmla="*/ 40 h 656"/>
                <a:gd name="T42" fmla="*/ 169 w 860"/>
                <a:gd name="T43" fmla="*/ 72 h 656"/>
                <a:gd name="T44" fmla="*/ 126 w 860"/>
                <a:gd name="T45" fmla="*/ 88 h 656"/>
                <a:gd name="T46" fmla="*/ 25 w 860"/>
                <a:gd name="T47" fmla="*/ 128 h 656"/>
                <a:gd name="T48" fmla="*/ 9 w 860"/>
                <a:gd name="T49" fmla="*/ 128 h 656"/>
                <a:gd name="T50" fmla="*/ 17 w 860"/>
                <a:gd name="T51" fmla="*/ 176 h 656"/>
                <a:gd name="T52" fmla="*/ 25 w 860"/>
                <a:gd name="T53" fmla="*/ 208 h 656"/>
                <a:gd name="T54" fmla="*/ 0 w 860"/>
                <a:gd name="T55" fmla="*/ 256 h 656"/>
                <a:gd name="T56" fmla="*/ 51 w 860"/>
                <a:gd name="T57" fmla="*/ 288 h 656"/>
                <a:gd name="T58" fmla="*/ 51 w 860"/>
                <a:gd name="T59" fmla="*/ 320 h 656"/>
                <a:gd name="T60" fmla="*/ 76 w 860"/>
                <a:gd name="T61" fmla="*/ 360 h 656"/>
                <a:gd name="T62" fmla="*/ 59 w 860"/>
                <a:gd name="T63" fmla="*/ 400 h 656"/>
                <a:gd name="T64" fmla="*/ 84 w 860"/>
                <a:gd name="T65" fmla="*/ 432 h 656"/>
                <a:gd name="T66" fmla="*/ 84 w 860"/>
                <a:gd name="T67" fmla="*/ 472 h 656"/>
                <a:gd name="T68" fmla="*/ 126 w 860"/>
                <a:gd name="T69" fmla="*/ 496 h 656"/>
                <a:gd name="T70" fmla="*/ 169 w 860"/>
                <a:gd name="T71" fmla="*/ 512 h 656"/>
                <a:gd name="T72" fmla="*/ 211 w 860"/>
                <a:gd name="T73" fmla="*/ 512 h 656"/>
                <a:gd name="T74" fmla="*/ 202 w 860"/>
                <a:gd name="T75" fmla="*/ 544 h 656"/>
                <a:gd name="T76" fmla="*/ 244 w 860"/>
                <a:gd name="T77" fmla="*/ 576 h 656"/>
                <a:gd name="T78" fmla="*/ 270 w 860"/>
                <a:gd name="T79" fmla="*/ 560 h 656"/>
                <a:gd name="T80" fmla="*/ 270 w 860"/>
                <a:gd name="T81" fmla="*/ 536 h 656"/>
                <a:gd name="T82" fmla="*/ 320 w 860"/>
                <a:gd name="T83" fmla="*/ 552 h 656"/>
                <a:gd name="T84" fmla="*/ 337 w 860"/>
                <a:gd name="T85" fmla="*/ 576 h 656"/>
                <a:gd name="T86" fmla="*/ 379 w 860"/>
                <a:gd name="T87" fmla="*/ 584 h 656"/>
                <a:gd name="T88" fmla="*/ 421 w 860"/>
                <a:gd name="T89" fmla="*/ 592 h 656"/>
                <a:gd name="T90" fmla="*/ 438 w 860"/>
                <a:gd name="T91" fmla="*/ 624 h 656"/>
                <a:gd name="T92" fmla="*/ 438 w 860"/>
                <a:gd name="T93" fmla="*/ 624 h 656"/>
                <a:gd name="T94" fmla="*/ 464 w 860"/>
                <a:gd name="T95" fmla="*/ 640 h 656"/>
                <a:gd name="T96" fmla="*/ 497 w 860"/>
                <a:gd name="T97" fmla="*/ 616 h 656"/>
                <a:gd name="T98" fmla="*/ 523 w 860"/>
                <a:gd name="T99" fmla="*/ 640 h 656"/>
                <a:gd name="T100" fmla="*/ 531 w 860"/>
                <a:gd name="T101" fmla="*/ 656 h 656"/>
                <a:gd name="T102" fmla="*/ 556 w 860"/>
                <a:gd name="T103" fmla="*/ 656 h 656"/>
                <a:gd name="T104" fmla="*/ 581 w 860"/>
                <a:gd name="T105" fmla="*/ 632 h 656"/>
                <a:gd name="T106" fmla="*/ 615 w 860"/>
                <a:gd name="T107" fmla="*/ 632 h 656"/>
                <a:gd name="T108" fmla="*/ 640 w 860"/>
                <a:gd name="T109" fmla="*/ 616 h 656"/>
                <a:gd name="T110" fmla="*/ 683 w 860"/>
                <a:gd name="T111" fmla="*/ 616 h 656"/>
                <a:gd name="T112" fmla="*/ 708 w 860"/>
                <a:gd name="T113" fmla="*/ 624 h 656"/>
                <a:gd name="T114" fmla="*/ 767 w 860"/>
                <a:gd name="T115" fmla="*/ 632 h 656"/>
                <a:gd name="T116" fmla="*/ 758 w 860"/>
                <a:gd name="T117" fmla="*/ 640 h 656"/>
                <a:gd name="T118" fmla="*/ 792 w 860"/>
                <a:gd name="T119" fmla="*/ 632 h 656"/>
                <a:gd name="T120" fmla="*/ 775 w 860"/>
                <a:gd name="T121" fmla="*/ 560 h 65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860" h="656">
                  <a:moveTo>
                    <a:pt x="775" y="560"/>
                  </a:moveTo>
                  <a:lnTo>
                    <a:pt x="826" y="464"/>
                  </a:lnTo>
                  <a:lnTo>
                    <a:pt x="860" y="456"/>
                  </a:lnTo>
                  <a:lnTo>
                    <a:pt x="851" y="416"/>
                  </a:lnTo>
                  <a:lnTo>
                    <a:pt x="817" y="352"/>
                  </a:lnTo>
                  <a:lnTo>
                    <a:pt x="792" y="320"/>
                  </a:lnTo>
                  <a:lnTo>
                    <a:pt x="784" y="264"/>
                  </a:lnTo>
                  <a:lnTo>
                    <a:pt x="750" y="256"/>
                  </a:lnTo>
                  <a:lnTo>
                    <a:pt x="750" y="232"/>
                  </a:lnTo>
                  <a:lnTo>
                    <a:pt x="792" y="184"/>
                  </a:lnTo>
                  <a:lnTo>
                    <a:pt x="750" y="104"/>
                  </a:lnTo>
                  <a:lnTo>
                    <a:pt x="725" y="40"/>
                  </a:lnTo>
                  <a:lnTo>
                    <a:pt x="666" y="16"/>
                  </a:lnTo>
                  <a:lnTo>
                    <a:pt x="531" y="40"/>
                  </a:lnTo>
                  <a:lnTo>
                    <a:pt x="447" y="24"/>
                  </a:lnTo>
                  <a:lnTo>
                    <a:pt x="405" y="48"/>
                  </a:lnTo>
                  <a:lnTo>
                    <a:pt x="362" y="40"/>
                  </a:lnTo>
                  <a:lnTo>
                    <a:pt x="329" y="24"/>
                  </a:lnTo>
                  <a:lnTo>
                    <a:pt x="295" y="0"/>
                  </a:lnTo>
                  <a:lnTo>
                    <a:pt x="253" y="8"/>
                  </a:lnTo>
                  <a:lnTo>
                    <a:pt x="177" y="40"/>
                  </a:lnTo>
                  <a:lnTo>
                    <a:pt x="169" y="72"/>
                  </a:lnTo>
                  <a:lnTo>
                    <a:pt x="126" y="88"/>
                  </a:lnTo>
                  <a:lnTo>
                    <a:pt x="25" y="128"/>
                  </a:lnTo>
                  <a:lnTo>
                    <a:pt x="9" y="128"/>
                  </a:lnTo>
                  <a:lnTo>
                    <a:pt x="17" y="176"/>
                  </a:lnTo>
                  <a:lnTo>
                    <a:pt x="25" y="208"/>
                  </a:lnTo>
                  <a:lnTo>
                    <a:pt x="0" y="256"/>
                  </a:lnTo>
                  <a:lnTo>
                    <a:pt x="51" y="288"/>
                  </a:lnTo>
                  <a:lnTo>
                    <a:pt x="51" y="320"/>
                  </a:lnTo>
                  <a:lnTo>
                    <a:pt x="76" y="360"/>
                  </a:lnTo>
                  <a:lnTo>
                    <a:pt x="59" y="400"/>
                  </a:lnTo>
                  <a:lnTo>
                    <a:pt x="84" y="432"/>
                  </a:lnTo>
                  <a:lnTo>
                    <a:pt x="84" y="472"/>
                  </a:lnTo>
                  <a:lnTo>
                    <a:pt x="126" y="496"/>
                  </a:lnTo>
                  <a:lnTo>
                    <a:pt x="169" y="512"/>
                  </a:lnTo>
                  <a:lnTo>
                    <a:pt x="211" y="512"/>
                  </a:lnTo>
                  <a:lnTo>
                    <a:pt x="202" y="544"/>
                  </a:lnTo>
                  <a:lnTo>
                    <a:pt x="244" y="576"/>
                  </a:lnTo>
                  <a:lnTo>
                    <a:pt x="270" y="560"/>
                  </a:lnTo>
                  <a:lnTo>
                    <a:pt x="270" y="536"/>
                  </a:lnTo>
                  <a:lnTo>
                    <a:pt x="320" y="552"/>
                  </a:lnTo>
                  <a:lnTo>
                    <a:pt x="337" y="576"/>
                  </a:lnTo>
                  <a:lnTo>
                    <a:pt x="379" y="584"/>
                  </a:lnTo>
                  <a:lnTo>
                    <a:pt x="421" y="592"/>
                  </a:lnTo>
                  <a:lnTo>
                    <a:pt x="438" y="624"/>
                  </a:lnTo>
                  <a:lnTo>
                    <a:pt x="464" y="640"/>
                  </a:lnTo>
                  <a:lnTo>
                    <a:pt x="497" y="616"/>
                  </a:lnTo>
                  <a:lnTo>
                    <a:pt x="523" y="640"/>
                  </a:lnTo>
                  <a:lnTo>
                    <a:pt x="531" y="656"/>
                  </a:lnTo>
                  <a:lnTo>
                    <a:pt x="556" y="656"/>
                  </a:lnTo>
                  <a:lnTo>
                    <a:pt x="581" y="632"/>
                  </a:lnTo>
                  <a:lnTo>
                    <a:pt x="615" y="632"/>
                  </a:lnTo>
                  <a:lnTo>
                    <a:pt x="640" y="616"/>
                  </a:lnTo>
                  <a:lnTo>
                    <a:pt x="683" y="616"/>
                  </a:lnTo>
                  <a:lnTo>
                    <a:pt x="708" y="624"/>
                  </a:lnTo>
                  <a:lnTo>
                    <a:pt x="767" y="632"/>
                  </a:lnTo>
                  <a:lnTo>
                    <a:pt x="758" y="640"/>
                  </a:lnTo>
                  <a:lnTo>
                    <a:pt x="792" y="632"/>
                  </a:lnTo>
                  <a:lnTo>
                    <a:pt x="775" y="56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33" name="Freeform 87"/>
            <p:cNvSpPr>
              <a:spLocks/>
            </p:cNvSpPr>
            <p:nvPr/>
          </p:nvSpPr>
          <p:spPr bwMode="auto">
            <a:xfrm>
              <a:off x="4536" y="1968"/>
              <a:ext cx="210" cy="112"/>
            </a:xfrm>
            <a:custGeom>
              <a:avLst/>
              <a:gdLst>
                <a:gd name="T0" fmla="*/ 168 w 210"/>
                <a:gd name="T1" fmla="*/ 8 h 112"/>
                <a:gd name="T2" fmla="*/ 109 w 210"/>
                <a:gd name="T3" fmla="*/ 8 h 112"/>
                <a:gd name="T4" fmla="*/ 76 w 210"/>
                <a:gd name="T5" fmla="*/ 0 h 112"/>
                <a:gd name="T6" fmla="*/ 67 w 210"/>
                <a:gd name="T7" fmla="*/ 24 h 112"/>
                <a:gd name="T8" fmla="*/ 42 w 210"/>
                <a:gd name="T9" fmla="*/ 32 h 112"/>
                <a:gd name="T10" fmla="*/ 8 w 210"/>
                <a:gd name="T11" fmla="*/ 48 h 112"/>
                <a:gd name="T12" fmla="*/ 8 w 210"/>
                <a:gd name="T13" fmla="*/ 72 h 112"/>
                <a:gd name="T14" fmla="*/ 0 w 210"/>
                <a:gd name="T15" fmla="*/ 96 h 112"/>
                <a:gd name="T16" fmla="*/ 84 w 210"/>
                <a:gd name="T17" fmla="*/ 112 h 112"/>
                <a:gd name="T18" fmla="*/ 210 w 210"/>
                <a:gd name="T19" fmla="*/ 88 h 112"/>
                <a:gd name="T20" fmla="*/ 193 w 210"/>
                <a:gd name="T21" fmla="*/ 16 h 112"/>
                <a:gd name="T22" fmla="*/ 168 w 210"/>
                <a:gd name="T23" fmla="*/ 8 h 11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10" h="112">
                  <a:moveTo>
                    <a:pt x="168" y="8"/>
                  </a:moveTo>
                  <a:lnTo>
                    <a:pt x="109" y="8"/>
                  </a:lnTo>
                  <a:lnTo>
                    <a:pt x="76" y="0"/>
                  </a:lnTo>
                  <a:lnTo>
                    <a:pt x="67" y="24"/>
                  </a:lnTo>
                  <a:lnTo>
                    <a:pt x="42" y="32"/>
                  </a:lnTo>
                  <a:lnTo>
                    <a:pt x="8" y="48"/>
                  </a:lnTo>
                  <a:lnTo>
                    <a:pt x="8" y="72"/>
                  </a:lnTo>
                  <a:lnTo>
                    <a:pt x="0" y="96"/>
                  </a:lnTo>
                  <a:lnTo>
                    <a:pt x="84" y="112"/>
                  </a:lnTo>
                  <a:lnTo>
                    <a:pt x="210" y="88"/>
                  </a:lnTo>
                  <a:lnTo>
                    <a:pt x="193" y="16"/>
                  </a:lnTo>
                  <a:lnTo>
                    <a:pt x="168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34" name="Freeform 88"/>
            <p:cNvSpPr>
              <a:spLocks/>
            </p:cNvSpPr>
            <p:nvPr/>
          </p:nvSpPr>
          <p:spPr bwMode="auto">
            <a:xfrm>
              <a:off x="4578" y="1792"/>
              <a:ext cx="455" cy="320"/>
            </a:xfrm>
            <a:custGeom>
              <a:avLst/>
              <a:gdLst>
                <a:gd name="T0" fmla="*/ 312 w 455"/>
                <a:gd name="T1" fmla="*/ 304 h 320"/>
                <a:gd name="T2" fmla="*/ 328 w 455"/>
                <a:gd name="T3" fmla="*/ 296 h 320"/>
                <a:gd name="T4" fmla="*/ 320 w 455"/>
                <a:gd name="T5" fmla="*/ 272 h 320"/>
                <a:gd name="T6" fmla="*/ 354 w 455"/>
                <a:gd name="T7" fmla="*/ 264 h 320"/>
                <a:gd name="T8" fmla="*/ 379 w 455"/>
                <a:gd name="T9" fmla="*/ 248 h 320"/>
                <a:gd name="T10" fmla="*/ 404 w 455"/>
                <a:gd name="T11" fmla="*/ 256 h 320"/>
                <a:gd name="T12" fmla="*/ 387 w 455"/>
                <a:gd name="T13" fmla="*/ 224 h 320"/>
                <a:gd name="T14" fmla="*/ 387 w 455"/>
                <a:gd name="T15" fmla="*/ 192 h 320"/>
                <a:gd name="T16" fmla="*/ 387 w 455"/>
                <a:gd name="T17" fmla="*/ 160 h 320"/>
                <a:gd name="T18" fmla="*/ 413 w 455"/>
                <a:gd name="T19" fmla="*/ 152 h 320"/>
                <a:gd name="T20" fmla="*/ 421 w 455"/>
                <a:gd name="T21" fmla="*/ 128 h 320"/>
                <a:gd name="T22" fmla="*/ 446 w 455"/>
                <a:gd name="T23" fmla="*/ 120 h 320"/>
                <a:gd name="T24" fmla="*/ 455 w 455"/>
                <a:gd name="T25" fmla="*/ 104 h 320"/>
                <a:gd name="T26" fmla="*/ 430 w 455"/>
                <a:gd name="T27" fmla="*/ 96 h 320"/>
                <a:gd name="T28" fmla="*/ 430 w 455"/>
                <a:gd name="T29" fmla="*/ 64 h 320"/>
                <a:gd name="T30" fmla="*/ 396 w 455"/>
                <a:gd name="T31" fmla="*/ 56 h 320"/>
                <a:gd name="T32" fmla="*/ 371 w 455"/>
                <a:gd name="T33" fmla="*/ 40 h 320"/>
                <a:gd name="T34" fmla="*/ 337 w 455"/>
                <a:gd name="T35" fmla="*/ 24 h 320"/>
                <a:gd name="T36" fmla="*/ 286 w 455"/>
                <a:gd name="T37" fmla="*/ 16 h 320"/>
                <a:gd name="T38" fmla="*/ 278 w 455"/>
                <a:gd name="T39" fmla="*/ 0 h 320"/>
                <a:gd name="T40" fmla="*/ 227 w 455"/>
                <a:gd name="T41" fmla="*/ 32 h 320"/>
                <a:gd name="T42" fmla="*/ 185 w 455"/>
                <a:gd name="T43" fmla="*/ 24 h 320"/>
                <a:gd name="T44" fmla="*/ 143 w 455"/>
                <a:gd name="T45" fmla="*/ 32 h 320"/>
                <a:gd name="T46" fmla="*/ 84 w 455"/>
                <a:gd name="T47" fmla="*/ 32 h 320"/>
                <a:gd name="T48" fmla="*/ 25 w 455"/>
                <a:gd name="T49" fmla="*/ 64 h 320"/>
                <a:gd name="T50" fmla="*/ 0 w 455"/>
                <a:gd name="T51" fmla="*/ 88 h 320"/>
                <a:gd name="T52" fmla="*/ 8 w 455"/>
                <a:gd name="T53" fmla="*/ 104 h 320"/>
                <a:gd name="T54" fmla="*/ 25 w 455"/>
                <a:gd name="T55" fmla="*/ 168 h 320"/>
                <a:gd name="T56" fmla="*/ 34 w 455"/>
                <a:gd name="T57" fmla="*/ 184 h 320"/>
                <a:gd name="T58" fmla="*/ 67 w 455"/>
                <a:gd name="T59" fmla="*/ 192 h 320"/>
                <a:gd name="T60" fmla="*/ 126 w 455"/>
                <a:gd name="T61" fmla="*/ 192 h 320"/>
                <a:gd name="T62" fmla="*/ 151 w 455"/>
                <a:gd name="T63" fmla="*/ 200 h 320"/>
                <a:gd name="T64" fmla="*/ 168 w 455"/>
                <a:gd name="T65" fmla="*/ 272 h 320"/>
                <a:gd name="T66" fmla="*/ 177 w 455"/>
                <a:gd name="T67" fmla="*/ 272 h 320"/>
                <a:gd name="T68" fmla="*/ 236 w 455"/>
                <a:gd name="T69" fmla="*/ 296 h 320"/>
                <a:gd name="T70" fmla="*/ 244 w 455"/>
                <a:gd name="T71" fmla="*/ 320 h 320"/>
                <a:gd name="T72" fmla="*/ 278 w 455"/>
                <a:gd name="T73" fmla="*/ 296 h 320"/>
                <a:gd name="T74" fmla="*/ 312 w 455"/>
                <a:gd name="T75" fmla="*/ 304 h 32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55" h="320">
                  <a:moveTo>
                    <a:pt x="312" y="304"/>
                  </a:moveTo>
                  <a:lnTo>
                    <a:pt x="328" y="296"/>
                  </a:lnTo>
                  <a:lnTo>
                    <a:pt x="320" y="272"/>
                  </a:lnTo>
                  <a:lnTo>
                    <a:pt x="354" y="264"/>
                  </a:lnTo>
                  <a:lnTo>
                    <a:pt x="379" y="248"/>
                  </a:lnTo>
                  <a:lnTo>
                    <a:pt x="404" y="256"/>
                  </a:lnTo>
                  <a:lnTo>
                    <a:pt x="387" y="224"/>
                  </a:lnTo>
                  <a:lnTo>
                    <a:pt x="387" y="192"/>
                  </a:lnTo>
                  <a:lnTo>
                    <a:pt x="387" y="160"/>
                  </a:lnTo>
                  <a:lnTo>
                    <a:pt x="413" y="152"/>
                  </a:lnTo>
                  <a:lnTo>
                    <a:pt x="421" y="128"/>
                  </a:lnTo>
                  <a:lnTo>
                    <a:pt x="446" y="120"/>
                  </a:lnTo>
                  <a:lnTo>
                    <a:pt x="455" y="104"/>
                  </a:lnTo>
                  <a:lnTo>
                    <a:pt x="430" y="96"/>
                  </a:lnTo>
                  <a:lnTo>
                    <a:pt x="430" y="64"/>
                  </a:lnTo>
                  <a:lnTo>
                    <a:pt x="396" y="56"/>
                  </a:lnTo>
                  <a:lnTo>
                    <a:pt x="371" y="40"/>
                  </a:lnTo>
                  <a:lnTo>
                    <a:pt x="337" y="24"/>
                  </a:lnTo>
                  <a:lnTo>
                    <a:pt x="286" y="16"/>
                  </a:lnTo>
                  <a:lnTo>
                    <a:pt x="278" y="0"/>
                  </a:lnTo>
                  <a:lnTo>
                    <a:pt x="227" y="32"/>
                  </a:lnTo>
                  <a:lnTo>
                    <a:pt x="185" y="24"/>
                  </a:lnTo>
                  <a:lnTo>
                    <a:pt x="143" y="32"/>
                  </a:lnTo>
                  <a:lnTo>
                    <a:pt x="84" y="32"/>
                  </a:lnTo>
                  <a:lnTo>
                    <a:pt x="25" y="64"/>
                  </a:lnTo>
                  <a:lnTo>
                    <a:pt x="0" y="88"/>
                  </a:lnTo>
                  <a:lnTo>
                    <a:pt x="8" y="104"/>
                  </a:lnTo>
                  <a:lnTo>
                    <a:pt x="25" y="168"/>
                  </a:lnTo>
                  <a:lnTo>
                    <a:pt x="34" y="184"/>
                  </a:lnTo>
                  <a:lnTo>
                    <a:pt x="67" y="192"/>
                  </a:lnTo>
                  <a:lnTo>
                    <a:pt x="126" y="192"/>
                  </a:lnTo>
                  <a:lnTo>
                    <a:pt x="151" y="200"/>
                  </a:lnTo>
                  <a:lnTo>
                    <a:pt x="168" y="272"/>
                  </a:lnTo>
                  <a:lnTo>
                    <a:pt x="177" y="272"/>
                  </a:lnTo>
                  <a:lnTo>
                    <a:pt x="236" y="296"/>
                  </a:lnTo>
                  <a:lnTo>
                    <a:pt x="244" y="320"/>
                  </a:lnTo>
                  <a:lnTo>
                    <a:pt x="278" y="296"/>
                  </a:lnTo>
                  <a:lnTo>
                    <a:pt x="312" y="3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35" name="Freeform 89"/>
            <p:cNvSpPr>
              <a:spLocks/>
            </p:cNvSpPr>
            <p:nvPr/>
          </p:nvSpPr>
          <p:spPr bwMode="auto">
            <a:xfrm>
              <a:off x="4831" y="2096"/>
              <a:ext cx="969" cy="928"/>
            </a:xfrm>
            <a:custGeom>
              <a:avLst/>
              <a:gdLst>
                <a:gd name="T0" fmla="*/ 910 w 969"/>
                <a:gd name="T1" fmla="*/ 96 h 928"/>
                <a:gd name="T2" fmla="*/ 910 w 969"/>
                <a:gd name="T3" fmla="*/ 40 h 928"/>
                <a:gd name="T4" fmla="*/ 825 w 969"/>
                <a:gd name="T5" fmla="*/ 0 h 928"/>
                <a:gd name="T6" fmla="*/ 733 w 969"/>
                <a:gd name="T7" fmla="*/ 32 h 928"/>
                <a:gd name="T8" fmla="*/ 691 w 969"/>
                <a:gd name="T9" fmla="*/ 72 h 928"/>
                <a:gd name="T10" fmla="*/ 615 w 969"/>
                <a:gd name="T11" fmla="*/ 160 h 928"/>
                <a:gd name="T12" fmla="*/ 573 w 969"/>
                <a:gd name="T13" fmla="*/ 176 h 928"/>
                <a:gd name="T14" fmla="*/ 505 w 969"/>
                <a:gd name="T15" fmla="*/ 184 h 928"/>
                <a:gd name="T16" fmla="*/ 446 w 969"/>
                <a:gd name="T17" fmla="*/ 200 h 928"/>
                <a:gd name="T18" fmla="*/ 387 w 969"/>
                <a:gd name="T19" fmla="*/ 224 h 928"/>
                <a:gd name="T20" fmla="*/ 294 w 969"/>
                <a:gd name="T21" fmla="*/ 208 h 928"/>
                <a:gd name="T22" fmla="*/ 143 w 969"/>
                <a:gd name="T23" fmla="*/ 224 h 928"/>
                <a:gd name="T24" fmla="*/ 84 w 969"/>
                <a:gd name="T25" fmla="*/ 272 h 928"/>
                <a:gd name="T26" fmla="*/ 75 w 969"/>
                <a:gd name="T27" fmla="*/ 304 h 928"/>
                <a:gd name="T28" fmla="*/ 118 w 969"/>
                <a:gd name="T29" fmla="*/ 408 h 928"/>
                <a:gd name="T30" fmla="*/ 33 w 969"/>
                <a:gd name="T31" fmla="*/ 512 h 928"/>
                <a:gd name="T32" fmla="*/ 16 w 969"/>
                <a:gd name="T33" fmla="*/ 592 h 928"/>
                <a:gd name="T34" fmla="*/ 0 w 969"/>
                <a:gd name="T35" fmla="*/ 680 h 928"/>
                <a:gd name="T36" fmla="*/ 50 w 969"/>
                <a:gd name="T37" fmla="*/ 696 h 928"/>
                <a:gd name="T38" fmla="*/ 109 w 969"/>
                <a:gd name="T39" fmla="*/ 696 h 928"/>
                <a:gd name="T40" fmla="*/ 177 w 969"/>
                <a:gd name="T41" fmla="*/ 704 h 928"/>
                <a:gd name="T42" fmla="*/ 261 w 969"/>
                <a:gd name="T43" fmla="*/ 712 h 928"/>
                <a:gd name="T44" fmla="*/ 362 w 969"/>
                <a:gd name="T45" fmla="*/ 664 h 928"/>
                <a:gd name="T46" fmla="*/ 404 w 969"/>
                <a:gd name="T47" fmla="*/ 616 h 928"/>
                <a:gd name="T48" fmla="*/ 463 w 969"/>
                <a:gd name="T49" fmla="*/ 600 h 928"/>
                <a:gd name="T50" fmla="*/ 556 w 969"/>
                <a:gd name="T51" fmla="*/ 600 h 928"/>
                <a:gd name="T52" fmla="*/ 640 w 969"/>
                <a:gd name="T53" fmla="*/ 648 h 928"/>
                <a:gd name="T54" fmla="*/ 707 w 969"/>
                <a:gd name="T55" fmla="*/ 696 h 928"/>
                <a:gd name="T56" fmla="*/ 758 w 969"/>
                <a:gd name="T57" fmla="*/ 760 h 928"/>
                <a:gd name="T58" fmla="*/ 657 w 969"/>
                <a:gd name="T59" fmla="*/ 800 h 928"/>
                <a:gd name="T60" fmla="*/ 657 w 969"/>
                <a:gd name="T61" fmla="*/ 888 h 928"/>
                <a:gd name="T62" fmla="*/ 674 w 969"/>
                <a:gd name="T63" fmla="*/ 928 h 928"/>
                <a:gd name="T64" fmla="*/ 766 w 969"/>
                <a:gd name="T65" fmla="*/ 904 h 928"/>
                <a:gd name="T66" fmla="*/ 808 w 969"/>
                <a:gd name="T67" fmla="*/ 768 h 928"/>
                <a:gd name="T68" fmla="*/ 867 w 969"/>
                <a:gd name="T69" fmla="*/ 704 h 928"/>
                <a:gd name="T70" fmla="*/ 969 w 969"/>
                <a:gd name="T71" fmla="*/ 688 h 928"/>
                <a:gd name="T72" fmla="*/ 935 w 969"/>
                <a:gd name="T73" fmla="*/ 104 h 92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69" h="928">
                  <a:moveTo>
                    <a:pt x="935" y="104"/>
                  </a:moveTo>
                  <a:lnTo>
                    <a:pt x="910" y="96"/>
                  </a:lnTo>
                  <a:lnTo>
                    <a:pt x="893" y="56"/>
                  </a:lnTo>
                  <a:lnTo>
                    <a:pt x="910" y="40"/>
                  </a:lnTo>
                  <a:lnTo>
                    <a:pt x="867" y="16"/>
                  </a:lnTo>
                  <a:lnTo>
                    <a:pt x="825" y="0"/>
                  </a:lnTo>
                  <a:lnTo>
                    <a:pt x="766" y="32"/>
                  </a:lnTo>
                  <a:lnTo>
                    <a:pt x="733" y="32"/>
                  </a:lnTo>
                  <a:lnTo>
                    <a:pt x="724" y="72"/>
                  </a:lnTo>
                  <a:lnTo>
                    <a:pt x="691" y="72"/>
                  </a:lnTo>
                  <a:lnTo>
                    <a:pt x="632" y="96"/>
                  </a:lnTo>
                  <a:lnTo>
                    <a:pt x="615" y="160"/>
                  </a:lnTo>
                  <a:lnTo>
                    <a:pt x="623" y="192"/>
                  </a:lnTo>
                  <a:lnTo>
                    <a:pt x="573" y="176"/>
                  </a:lnTo>
                  <a:lnTo>
                    <a:pt x="530" y="200"/>
                  </a:lnTo>
                  <a:lnTo>
                    <a:pt x="505" y="184"/>
                  </a:lnTo>
                  <a:lnTo>
                    <a:pt x="480" y="216"/>
                  </a:lnTo>
                  <a:lnTo>
                    <a:pt x="446" y="200"/>
                  </a:lnTo>
                  <a:lnTo>
                    <a:pt x="412" y="200"/>
                  </a:lnTo>
                  <a:lnTo>
                    <a:pt x="387" y="224"/>
                  </a:lnTo>
                  <a:lnTo>
                    <a:pt x="353" y="200"/>
                  </a:lnTo>
                  <a:lnTo>
                    <a:pt x="294" y="208"/>
                  </a:lnTo>
                  <a:lnTo>
                    <a:pt x="202" y="216"/>
                  </a:lnTo>
                  <a:lnTo>
                    <a:pt x="143" y="224"/>
                  </a:lnTo>
                  <a:lnTo>
                    <a:pt x="101" y="248"/>
                  </a:lnTo>
                  <a:lnTo>
                    <a:pt x="84" y="272"/>
                  </a:lnTo>
                  <a:lnTo>
                    <a:pt x="50" y="272"/>
                  </a:lnTo>
                  <a:lnTo>
                    <a:pt x="75" y="304"/>
                  </a:lnTo>
                  <a:lnTo>
                    <a:pt x="109" y="368"/>
                  </a:lnTo>
                  <a:lnTo>
                    <a:pt x="118" y="408"/>
                  </a:lnTo>
                  <a:lnTo>
                    <a:pt x="84" y="416"/>
                  </a:lnTo>
                  <a:lnTo>
                    <a:pt x="33" y="512"/>
                  </a:lnTo>
                  <a:lnTo>
                    <a:pt x="50" y="584"/>
                  </a:lnTo>
                  <a:lnTo>
                    <a:pt x="16" y="592"/>
                  </a:lnTo>
                  <a:lnTo>
                    <a:pt x="8" y="632"/>
                  </a:lnTo>
                  <a:lnTo>
                    <a:pt x="0" y="680"/>
                  </a:lnTo>
                  <a:lnTo>
                    <a:pt x="16" y="672"/>
                  </a:lnTo>
                  <a:lnTo>
                    <a:pt x="50" y="696"/>
                  </a:lnTo>
                  <a:lnTo>
                    <a:pt x="75" y="720"/>
                  </a:lnTo>
                  <a:lnTo>
                    <a:pt x="109" y="696"/>
                  </a:lnTo>
                  <a:lnTo>
                    <a:pt x="143" y="704"/>
                  </a:lnTo>
                  <a:lnTo>
                    <a:pt x="177" y="704"/>
                  </a:lnTo>
                  <a:lnTo>
                    <a:pt x="227" y="696"/>
                  </a:lnTo>
                  <a:lnTo>
                    <a:pt x="261" y="712"/>
                  </a:lnTo>
                  <a:lnTo>
                    <a:pt x="286" y="688"/>
                  </a:lnTo>
                  <a:lnTo>
                    <a:pt x="362" y="664"/>
                  </a:lnTo>
                  <a:lnTo>
                    <a:pt x="396" y="616"/>
                  </a:lnTo>
                  <a:lnTo>
                    <a:pt x="404" y="616"/>
                  </a:lnTo>
                  <a:lnTo>
                    <a:pt x="412" y="608"/>
                  </a:lnTo>
                  <a:lnTo>
                    <a:pt x="463" y="600"/>
                  </a:lnTo>
                  <a:lnTo>
                    <a:pt x="488" y="576"/>
                  </a:lnTo>
                  <a:lnTo>
                    <a:pt x="556" y="600"/>
                  </a:lnTo>
                  <a:lnTo>
                    <a:pt x="615" y="600"/>
                  </a:lnTo>
                  <a:lnTo>
                    <a:pt x="640" y="648"/>
                  </a:lnTo>
                  <a:lnTo>
                    <a:pt x="691" y="664"/>
                  </a:lnTo>
                  <a:lnTo>
                    <a:pt x="707" y="696"/>
                  </a:lnTo>
                  <a:lnTo>
                    <a:pt x="741" y="728"/>
                  </a:lnTo>
                  <a:lnTo>
                    <a:pt x="758" y="760"/>
                  </a:lnTo>
                  <a:lnTo>
                    <a:pt x="682" y="776"/>
                  </a:lnTo>
                  <a:lnTo>
                    <a:pt x="657" y="800"/>
                  </a:lnTo>
                  <a:lnTo>
                    <a:pt x="674" y="824"/>
                  </a:lnTo>
                  <a:lnTo>
                    <a:pt x="657" y="888"/>
                  </a:lnTo>
                  <a:lnTo>
                    <a:pt x="640" y="912"/>
                  </a:lnTo>
                  <a:lnTo>
                    <a:pt x="674" y="928"/>
                  </a:lnTo>
                  <a:lnTo>
                    <a:pt x="724" y="904"/>
                  </a:lnTo>
                  <a:lnTo>
                    <a:pt x="766" y="904"/>
                  </a:lnTo>
                  <a:lnTo>
                    <a:pt x="766" y="872"/>
                  </a:lnTo>
                  <a:lnTo>
                    <a:pt x="808" y="768"/>
                  </a:lnTo>
                  <a:lnTo>
                    <a:pt x="834" y="736"/>
                  </a:lnTo>
                  <a:lnTo>
                    <a:pt x="867" y="704"/>
                  </a:lnTo>
                  <a:lnTo>
                    <a:pt x="918" y="680"/>
                  </a:lnTo>
                  <a:lnTo>
                    <a:pt x="969" y="688"/>
                  </a:lnTo>
                  <a:lnTo>
                    <a:pt x="969" y="104"/>
                  </a:lnTo>
                  <a:lnTo>
                    <a:pt x="935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36" name="Freeform 90"/>
            <p:cNvSpPr>
              <a:spLocks/>
            </p:cNvSpPr>
            <p:nvPr/>
          </p:nvSpPr>
          <p:spPr bwMode="auto">
            <a:xfrm>
              <a:off x="4578" y="1784"/>
              <a:ext cx="455" cy="320"/>
            </a:xfrm>
            <a:custGeom>
              <a:avLst/>
              <a:gdLst>
                <a:gd name="T0" fmla="*/ 312 w 455"/>
                <a:gd name="T1" fmla="*/ 304 h 320"/>
                <a:gd name="T2" fmla="*/ 328 w 455"/>
                <a:gd name="T3" fmla="*/ 296 h 320"/>
                <a:gd name="T4" fmla="*/ 320 w 455"/>
                <a:gd name="T5" fmla="*/ 272 h 320"/>
                <a:gd name="T6" fmla="*/ 354 w 455"/>
                <a:gd name="T7" fmla="*/ 264 h 320"/>
                <a:gd name="T8" fmla="*/ 379 w 455"/>
                <a:gd name="T9" fmla="*/ 248 h 320"/>
                <a:gd name="T10" fmla="*/ 404 w 455"/>
                <a:gd name="T11" fmla="*/ 256 h 320"/>
                <a:gd name="T12" fmla="*/ 387 w 455"/>
                <a:gd name="T13" fmla="*/ 224 h 320"/>
                <a:gd name="T14" fmla="*/ 387 w 455"/>
                <a:gd name="T15" fmla="*/ 192 h 320"/>
                <a:gd name="T16" fmla="*/ 387 w 455"/>
                <a:gd name="T17" fmla="*/ 160 h 320"/>
                <a:gd name="T18" fmla="*/ 413 w 455"/>
                <a:gd name="T19" fmla="*/ 152 h 320"/>
                <a:gd name="T20" fmla="*/ 421 w 455"/>
                <a:gd name="T21" fmla="*/ 128 h 320"/>
                <a:gd name="T22" fmla="*/ 446 w 455"/>
                <a:gd name="T23" fmla="*/ 120 h 320"/>
                <a:gd name="T24" fmla="*/ 455 w 455"/>
                <a:gd name="T25" fmla="*/ 104 h 320"/>
                <a:gd name="T26" fmla="*/ 430 w 455"/>
                <a:gd name="T27" fmla="*/ 96 h 320"/>
                <a:gd name="T28" fmla="*/ 430 w 455"/>
                <a:gd name="T29" fmla="*/ 64 h 320"/>
                <a:gd name="T30" fmla="*/ 396 w 455"/>
                <a:gd name="T31" fmla="*/ 56 h 320"/>
                <a:gd name="T32" fmla="*/ 371 w 455"/>
                <a:gd name="T33" fmla="*/ 40 h 320"/>
                <a:gd name="T34" fmla="*/ 337 w 455"/>
                <a:gd name="T35" fmla="*/ 24 h 320"/>
                <a:gd name="T36" fmla="*/ 286 w 455"/>
                <a:gd name="T37" fmla="*/ 16 h 320"/>
                <a:gd name="T38" fmla="*/ 278 w 455"/>
                <a:gd name="T39" fmla="*/ 0 h 320"/>
                <a:gd name="T40" fmla="*/ 227 w 455"/>
                <a:gd name="T41" fmla="*/ 32 h 320"/>
                <a:gd name="T42" fmla="*/ 185 w 455"/>
                <a:gd name="T43" fmla="*/ 24 h 320"/>
                <a:gd name="T44" fmla="*/ 143 w 455"/>
                <a:gd name="T45" fmla="*/ 32 h 320"/>
                <a:gd name="T46" fmla="*/ 84 w 455"/>
                <a:gd name="T47" fmla="*/ 32 h 320"/>
                <a:gd name="T48" fmla="*/ 25 w 455"/>
                <a:gd name="T49" fmla="*/ 64 h 320"/>
                <a:gd name="T50" fmla="*/ 0 w 455"/>
                <a:gd name="T51" fmla="*/ 88 h 320"/>
                <a:gd name="T52" fmla="*/ 8 w 455"/>
                <a:gd name="T53" fmla="*/ 104 h 320"/>
                <a:gd name="T54" fmla="*/ 25 w 455"/>
                <a:gd name="T55" fmla="*/ 168 h 320"/>
                <a:gd name="T56" fmla="*/ 34 w 455"/>
                <a:gd name="T57" fmla="*/ 184 h 320"/>
                <a:gd name="T58" fmla="*/ 67 w 455"/>
                <a:gd name="T59" fmla="*/ 192 h 320"/>
                <a:gd name="T60" fmla="*/ 126 w 455"/>
                <a:gd name="T61" fmla="*/ 192 h 320"/>
                <a:gd name="T62" fmla="*/ 151 w 455"/>
                <a:gd name="T63" fmla="*/ 200 h 320"/>
                <a:gd name="T64" fmla="*/ 168 w 455"/>
                <a:gd name="T65" fmla="*/ 272 h 320"/>
                <a:gd name="T66" fmla="*/ 177 w 455"/>
                <a:gd name="T67" fmla="*/ 272 h 320"/>
                <a:gd name="T68" fmla="*/ 236 w 455"/>
                <a:gd name="T69" fmla="*/ 296 h 320"/>
                <a:gd name="T70" fmla="*/ 244 w 455"/>
                <a:gd name="T71" fmla="*/ 320 h 320"/>
                <a:gd name="T72" fmla="*/ 278 w 455"/>
                <a:gd name="T73" fmla="*/ 296 h 320"/>
                <a:gd name="T74" fmla="*/ 312 w 455"/>
                <a:gd name="T75" fmla="*/ 304 h 32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55" h="320">
                  <a:moveTo>
                    <a:pt x="312" y="304"/>
                  </a:moveTo>
                  <a:lnTo>
                    <a:pt x="328" y="296"/>
                  </a:lnTo>
                  <a:lnTo>
                    <a:pt x="320" y="272"/>
                  </a:lnTo>
                  <a:lnTo>
                    <a:pt x="354" y="264"/>
                  </a:lnTo>
                  <a:lnTo>
                    <a:pt x="379" y="248"/>
                  </a:lnTo>
                  <a:lnTo>
                    <a:pt x="404" y="256"/>
                  </a:lnTo>
                  <a:lnTo>
                    <a:pt x="387" y="224"/>
                  </a:lnTo>
                  <a:lnTo>
                    <a:pt x="387" y="192"/>
                  </a:lnTo>
                  <a:lnTo>
                    <a:pt x="387" y="160"/>
                  </a:lnTo>
                  <a:lnTo>
                    <a:pt x="413" y="152"/>
                  </a:lnTo>
                  <a:lnTo>
                    <a:pt x="421" y="128"/>
                  </a:lnTo>
                  <a:lnTo>
                    <a:pt x="446" y="120"/>
                  </a:lnTo>
                  <a:lnTo>
                    <a:pt x="455" y="104"/>
                  </a:lnTo>
                  <a:lnTo>
                    <a:pt x="430" y="96"/>
                  </a:lnTo>
                  <a:lnTo>
                    <a:pt x="430" y="64"/>
                  </a:lnTo>
                  <a:lnTo>
                    <a:pt x="396" y="56"/>
                  </a:lnTo>
                  <a:lnTo>
                    <a:pt x="371" y="40"/>
                  </a:lnTo>
                  <a:lnTo>
                    <a:pt x="337" y="24"/>
                  </a:lnTo>
                  <a:lnTo>
                    <a:pt x="286" y="16"/>
                  </a:lnTo>
                  <a:lnTo>
                    <a:pt x="278" y="0"/>
                  </a:lnTo>
                  <a:lnTo>
                    <a:pt x="227" y="32"/>
                  </a:lnTo>
                  <a:lnTo>
                    <a:pt x="185" y="24"/>
                  </a:lnTo>
                  <a:lnTo>
                    <a:pt x="143" y="32"/>
                  </a:lnTo>
                  <a:lnTo>
                    <a:pt x="84" y="32"/>
                  </a:lnTo>
                  <a:lnTo>
                    <a:pt x="25" y="64"/>
                  </a:lnTo>
                  <a:lnTo>
                    <a:pt x="0" y="88"/>
                  </a:lnTo>
                  <a:lnTo>
                    <a:pt x="8" y="104"/>
                  </a:lnTo>
                  <a:lnTo>
                    <a:pt x="25" y="168"/>
                  </a:lnTo>
                  <a:lnTo>
                    <a:pt x="34" y="184"/>
                  </a:lnTo>
                  <a:lnTo>
                    <a:pt x="67" y="192"/>
                  </a:lnTo>
                  <a:lnTo>
                    <a:pt x="126" y="192"/>
                  </a:lnTo>
                  <a:lnTo>
                    <a:pt x="151" y="200"/>
                  </a:lnTo>
                  <a:lnTo>
                    <a:pt x="168" y="272"/>
                  </a:lnTo>
                  <a:lnTo>
                    <a:pt x="177" y="272"/>
                  </a:lnTo>
                  <a:lnTo>
                    <a:pt x="236" y="296"/>
                  </a:lnTo>
                  <a:lnTo>
                    <a:pt x="244" y="320"/>
                  </a:lnTo>
                  <a:lnTo>
                    <a:pt x="278" y="296"/>
                  </a:lnTo>
                  <a:lnTo>
                    <a:pt x="312" y="3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37" name="Freeform 91"/>
            <p:cNvSpPr>
              <a:spLocks/>
            </p:cNvSpPr>
            <p:nvPr/>
          </p:nvSpPr>
          <p:spPr bwMode="auto">
            <a:xfrm>
              <a:off x="4831" y="2088"/>
              <a:ext cx="969" cy="928"/>
            </a:xfrm>
            <a:custGeom>
              <a:avLst/>
              <a:gdLst>
                <a:gd name="T0" fmla="*/ 910 w 969"/>
                <a:gd name="T1" fmla="*/ 96 h 928"/>
                <a:gd name="T2" fmla="*/ 910 w 969"/>
                <a:gd name="T3" fmla="*/ 40 h 928"/>
                <a:gd name="T4" fmla="*/ 825 w 969"/>
                <a:gd name="T5" fmla="*/ 0 h 928"/>
                <a:gd name="T6" fmla="*/ 733 w 969"/>
                <a:gd name="T7" fmla="*/ 32 h 928"/>
                <a:gd name="T8" fmla="*/ 691 w 969"/>
                <a:gd name="T9" fmla="*/ 72 h 928"/>
                <a:gd name="T10" fmla="*/ 615 w 969"/>
                <a:gd name="T11" fmla="*/ 160 h 928"/>
                <a:gd name="T12" fmla="*/ 573 w 969"/>
                <a:gd name="T13" fmla="*/ 176 h 928"/>
                <a:gd name="T14" fmla="*/ 505 w 969"/>
                <a:gd name="T15" fmla="*/ 184 h 928"/>
                <a:gd name="T16" fmla="*/ 446 w 969"/>
                <a:gd name="T17" fmla="*/ 200 h 928"/>
                <a:gd name="T18" fmla="*/ 387 w 969"/>
                <a:gd name="T19" fmla="*/ 224 h 928"/>
                <a:gd name="T20" fmla="*/ 294 w 969"/>
                <a:gd name="T21" fmla="*/ 208 h 928"/>
                <a:gd name="T22" fmla="*/ 143 w 969"/>
                <a:gd name="T23" fmla="*/ 224 h 928"/>
                <a:gd name="T24" fmla="*/ 84 w 969"/>
                <a:gd name="T25" fmla="*/ 272 h 928"/>
                <a:gd name="T26" fmla="*/ 75 w 969"/>
                <a:gd name="T27" fmla="*/ 304 h 928"/>
                <a:gd name="T28" fmla="*/ 118 w 969"/>
                <a:gd name="T29" fmla="*/ 408 h 928"/>
                <a:gd name="T30" fmla="*/ 33 w 969"/>
                <a:gd name="T31" fmla="*/ 512 h 928"/>
                <a:gd name="T32" fmla="*/ 16 w 969"/>
                <a:gd name="T33" fmla="*/ 592 h 928"/>
                <a:gd name="T34" fmla="*/ 0 w 969"/>
                <a:gd name="T35" fmla="*/ 680 h 928"/>
                <a:gd name="T36" fmla="*/ 50 w 969"/>
                <a:gd name="T37" fmla="*/ 696 h 928"/>
                <a:gd name="T38" fmla="*/ 109 w 969"/>
                <a:gd name="T39" fmla="*/ 696 h 928"/>
                <a:gd name="T40" fmla="*/ 177 w 969"/>
                <a:gd name="T41" fmla="*/ 704 h 928"/>
                <a:gd name="T42" fmla="*/ 261 w 969"/>
                <a:gd name="T43" fmla="*/ 712 h 928"/>
                <a:gd name="T44" fmla="*/ 362 w 969"/>
                <a:gd name="T45" fmla="*/ 664 h 928"/>
                <a:gd name="T46" fmla="*/ 404 w 969"/>
                <a:gd name="T47" fmla="*/ 616 h 928"/>
                <a:gd name="T48" fmla="*/ 463 w 969"/>
                <a:gd name="T49" fmla="*/ 600 h 928"/>
                <a:gd name="T50" fmla="*/ 556 w 969"/>
                <a:gd name="T51" fmla="*/ 600 h 928"/>
                <a:gd name="T52" fmla="*/ 640 w 969"/>
                <a:gd name="T53" fmla="*/ 648 h 928"/>
                <a:gd name="T54" fmla="*/ 707 w 969"/>
                <a:gd name="T55" fmla="*/ 696 h 928"/>
                <a:gd name="T56" fmla="*/ 758 w 969"/>
                <a:gd name="T57" fmla="*/ 760 h 928"/>
                <a:gd name="T58" fmla="*/ 657 w 969"/>
                <a:gd name="T59" fmla="*/ 800 h 928"/>
                <a:gd name="T60" fmla="*/ 657 w 969"/>
                <a:gd name="T61" fmla="*/ 888 h 928"/>
                <a:gd name="T62" fmla="*/ 674 w 969"/>
                <a:gd name="T63" fmla="*/ 928 h 928"/>
                <a:gd name="T64" fmla="*/ 766 w 969"/>
                <a:gd name="T65" fmla="*/ 904 h 928"/>
                <a:gd name="T66" fmla="*/ 808 w 969"/>
                <a:gd name="T67" fmla="*/ 768 h 928"/>
                <a:gd name="T68" fmla="*/ 867 w 969"/>
                <a:gd name="T69" fmla="*/ 704 h 928"/>
                <a:gd name="T70" fmla="*/ 969 w 969"/>
                <a:gd name="T71" fmla="*/ 688 h 928"/>
                <a:gd name="T72" fmla="*/ 935 w 969"/>
                <a:gd name="T73" fmla="*/ 104 h 92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69" h="928">
                  <a:moveTo>
                    <a:pt x="935" y="104"/>
                  </a:moveTo>
                  <a:lnTo>
                    <a:pt x="910" y="96"/>
                  </a:lnTo>
                  <a:lnTo>
                    <a:pt x="893" y="56"/>
                  </a:lnTo>
                  <a:lnTo>
                    <a:pt x="910" y="40"/>
                  </a:lnTo>
                  <a:lnTo>
                    <a:pt x="867" y="16"/>
                  </a:lnTo>
                  <a:lnTo>
                    <a:pt x="825" y="0"/>
                  </a:lnTo>
                  <a:lnTo>
                    <a:pt x="766" y="32"/>
                  </a:lnTo>
                  <a:lnTo>
                    <a:pt x="733" y="32"/>
                  </a:lnTo>
                  <a:lnTo>
                    <a:pt x="724" y="72"/>
                  </a:lnTo>
                  <a:lnTo>
                    <a:pt x="691" y="72"/>
                  </a:lnTo>
                  <a:lnTo>
                    <a:pt x="632" y="96"/>
                  </a:lnTo>
                  <a:lnTo>
                    <a:pt x="615" y="160"/>
                  </a:lnTo>
                  <a:lnTo>
                    <a:pt x="623" y="192"/>
                  </a:lnTo>
                  <a:lnTo>
                    <a:pt x="573" y="176"/>
                  </a:lnTo>
                  <a:lnTo>
                    <a:pt x="530" y="200"/>
                  </a:lnTo>
                  <a:lnTo>
                    <a:pt x="505" y="184"/>
                  </a:lnTo>
                  <a:lnTo>
                    <a:pt x="480" y="216"/>
                  </a:lnTo>
                  <a:lnTo>
                    <a:pt x="446" y="200"/>
                  </a:lnTo>
                  <a:lnTo>
                    <a:pt x="412" y="200"/>
                  </a:lnTo>
                  <a:lnTo>
                    <a:pt x="387" y="224"/>
                  </a:lnTo>
                  <a:lnTo>
                    <a:pt x="353" y="200"/>
                  </a:lnTo>
                  <a:lnTo>
                    <a:pt x="294" y="208"/>
                  </a:lnTo>
                  <a:lnTo>
                    <a:pt x="202" y="216"/>
                  </a:lnTo>
                  <a:lnTo>
                    <a:pt x="143" y="224"/>
                  </a:lnTo>
                  <a:lnTo>
                    <a:pt x="101" y="248"/>
                  </a:lnTo>
                  <a:lnTo>
                    <a:pt x="84" y="272"/>
                  </a:lnTo>
                  <a:lnTo>
                    <a:pt x="50" y="272"/>
                  </a:lnTo>
                  <a:lnTo>
                    <a:pt x="75" y="304"/>
                  </a:lnTo>
                  <a:lnTo>
                    <a:pt x="109" y="368"/>
                  </a:lnTo>
                  <a:lnTo>
                    <a:pt x="118" y="408"/>
                  </a:lnTo>
                  <a:lnTo>
                    <a:pt x="84" y="416"/>
                  </a:lnTo>
                  <a:lnTo>
                    <a:pt x="33" y="512"/>
                  </a:lnTo>
                  <a:lnTo>
                    <a:pt x="50" y="584"/>
                  </a:lnTo>
                  <a:lnTo>
                    <a:pt x="16" y="592"/>
                  </a:lnTo>
                  <a:lnTo>
                    <a:pt x="8" y="632"/>
                  </a:lnTo>
                  <a:lnTo>
                    <a:pt x="0" y="680"/>
                  </a:lnTo>
                  <a:lnTo>
                    <a:pt x="16" y="672"/>
                  </a:lnTo>
                  <a:lnTo>
                    <a:pt x="50" y="696"/>
                  </a:lnTo>
                  <a:lnTo>
                    <a:pt x="75" y="720"/>
                  </a:lnTo>
                  <a:lnTo>
                    <a:pt x="109" y="696"/>
                  </a:lnTo>
                  <a:lnTo>
                    <a:pt x="143" y="704"/>
                  </a:lnTo>
                  <a:lnTo>
                    <a:pt x="177" y="704"/>
                  </a:lnTo>
                  <a:lnTo>
                    <a:pt x="227" y="696"/>
                  </a:lnTo>
                  <a:lnTo>
                    <a:pt x="261" y="712"/>
                  </a:lnTo>
                  <a:lnTo>
                    <a:pt x="286" y="688"/>
                  </a:lnTo>
                  <a:lnTo>
                    <a:pt x="362" y="664"/>
                  </a:lnTo>
                  <a:lnTo>
                    <a:pt x="396" y="616"/>
                  </a:lnTo>
                  <a:lnTo>
                    <a:pt x="404" y="616"/>
                  </a:lnTo>
                  <a:lnTo>
                    <a:pt x="412" y="608"/>
                  </a:lnTo>
                  <a:lnTo>
                    <a:pt x="463" y="600"/>
                  </a:lnTo>
                  <a:lnTo>
                    <a:pt x="488" y="576"/>
                  </a:lnTo>
                  <a:lnTo>
                    <a:pt x="556" y="600"/>
                  </a:lnTo>
                  <a:lnTo>
                    <a:pt x="615" y="600"/>
                  </a:lnTo>
                  <a:lnTo>
                    <a:pt x="640" y="648"/>
                  </a:lnTo>
                  <a:lnTo>
                    <a:pt x="691" y="664"/>
                  </a:lnTo>
                  <a:lnTo>
                    <a:pt x="707" y="696"/>
                  </a:lnTo>
                  <a:lnTo>
                    <a:pt x="741" y="728"/>
                  </a:lnTo>
                  <a:lnTo>
                    <a:pt x="758" y="760"/>
                  </a:lnTo>
                  <a:lnTo>
                    <a:pt x="682" y="776"/>
                  </a:lnTo>
                  <a:lnTo>
                    <a:pt x="657" y="800"/>
                  </a:lnTo>
                  <a:lnTo>
                    <a:pt x="674" y="824"/>
                  </a:lnTo>
                  <a:lnTo>
                    <a:pt x="657" y="888"/>
                  </a:lnTo>
                  <a:lnTo>
                    <a:pt x="640" y="912"/>
                  </a:lnTo>
                  <a:lnTo>
                    <a:pt x="674" y="928"/>
                  </a:lnTo>
                  <a:lnTo>
                    <a:pt x="724" y="904"/>
                  </a:lnTo>
                  <a:lnTo>
                    <a:pt x="766" y="904"/>
                  </a:lnTo>
                  <a:lnTo>
                    <a:pt x="766" y="872"/>
                  </a:lnTo>
                  <a:lnTo>
                    <a:pt x="808" y="768"/>
                  </a:lnTo>
                  <a:lnTo>
                    <a:pt x="834" y="736"/>
                  </a:lnTo>
                  <a:lnTo>
                    <a:pt x="867" y="704"/>
                  </a:lnTo>
                  <a:lnTo>
                    <a:pt x="918" y="680"/>
                  </a:lnTo>
                  <a:lnTo>
                    <a:pt x="969" y="688"/>
                  </a:lnTo>
                  <a:lnTo>
                    <a:pt x="969" y="104"/>
                  </a:lnTo>
                  <a:lnTo>
                    <a:pt x="935" y="1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38" name="Freeform 92"/>
            <p:cNvSpPr>
              <a:spLocks/>
            </p:cNvSpPr>
            <p:nvPr/>
          </p:nvSpPr>
          <p:spPr bwMode="auto">
            <a:xfrm>
              <a:off x="4822" y="1768"/>
              <a:ext cx="725" cy="600"/>
            </a:xfrm>
            <a:custGeom>
              <a:avLst/>
              <a:gdLst>
                <a:gd name="T0" fmla="*/ 657 w 725"/>
                <a:gd name="T1" fmla="*/ 320 h 600"/>
                <a:gd name="T2" fmla="*/ 641 w 725"/>
                <a:gd name="T3" fmla="*/ 280 h 600"/>
                <a:gd name="T4" fmla="*/ 708 w 725"/>
                <a:gd name="T5" fmla="*/ 256 h 600"/>
                <a:gd name="T6" fmla="*/ 700 w 725"/>
                <a:gd name="T7" fmla="*/ 208 h 600"/>
                <a:gd name="T8" fmla="*/ 624 w 725"/>
                <a:gd name="T9" fmla="*/ 168 h 600"/>
                <a:gd name="T10" fmla="*/ 548 w 725"/>
                <a:gd name="T11" fmla="*/ 136 h 600"/>
                <a:gd name="T12" fmla="*/ 514 w 725"/>
                <a:gd name="T13" fmla="*/ 104 h 600"/>
                <a:gd name="T14" fmla="*/ 506 w 725"/>
                <a:gd name="T15" fmla="*/ 40 h 600"/>
                <a:gd name="T16" fmla="*/ 438 w 725"/>
                <a:gd name="T17" fmla="*/ 8 h 600"/>
                <a:gd name="T18" fmla="*/ 379 w 725"/>
                <a:gd name="T19" fmla="*/ 16 h 600"/>
                <a:gd name="T20" fmla="*/ 329 w 725"/>
                <a:gd name="T21" fmla="*/ 16 h 600"/>
                <a:gd name="T22" fmla="*/ 278 w 725"/>
                <a:gd name="T23" fmla="*/ 0 h 600"/>
                <a:gd name="T24" fmla="*/ 202 w 725"/>
                <a:gd name="T25" fmla="*/ 64 h 600"/>
                <a:gd name="T26" fmla="*/ 186 w 725"/>
                <a:gd name="T27" fmla="*/ 88 h 600"/>
                <a:gd name="T28" fmla="*/ 211 w 725"/>
                <a:gd name="T29" fmla="*/ 128 h 600"/>
                <a:gd name="T30" fmla="*/ 177 w 725"/>
                <a:gd name="T31" fmla="*/ 152 h 600"/>
                <a:gd name="T32" fmla="*/ 143 w 725"/>
                <a:gd name="T33" fmla="*/ 184 h 600"/>
                <a:gd name="T34" fmla="*/ 143 w 725"/>
                <a:gd name="T35" fmla="*/ 248 h 600"/>
                <a:gd name="T36" fmla="*/ 135 w 725"/>
                <a:gd name="T37" fmla="*/ 272 h 600"/>
                <a:gd name="T38" fmla="*/ 76 w 725"/>
                <a:gd name="T39" fmla="*/ 296 h 600"/>
                <a:gd name="T40" fmla="*/ 68 w 725"/>
                <a:gd name="T41" fmla="*/ 328 h 600"/>
                <a:gd name="T42" fmla="*/ 0 w 725"/>
                <a:gd name="T43" fmla="*/ 344 h 600"/>
                <a:gd name="T44" fmla="*/ 59 w 725"/>
                <a:gd name="T45" fmla="*/ 464 h 600"/>
                <a:gd name="T46" fmla="*/ 17 w 725"/>
                <a:gd name="T47" fmla="*/ 536 h 600"/>
                <a:gd name="T48" fmla="*/ 59 w 725"/>
                <a:gd name="T49" fmla="*/ 600 h 600"/>
                <a:gd name="T50" fmla="*/ 110 w 725"/>
                <a:gd name="T51" fmla="*/ 576 h 600"/>
                <a:gd name="T52" fmla="*/ 211 w 725"/>
                <a:gd name="T53" fmla="*/ 544 h 600"/>
                <a:gd name="T54" fmla="*/ 362 w 725"/>
                <a:gd name="T55" fmla="*/ 528 h 600"/>
                <a:gd name="T56" fmla="*/ 421 w 725"/>
                <a:gd name="T57" fmla="*/ 528 h 600"/>
                <a:gd name="T58" fmla="*/ 489 w 725"/>
                <a:gd name="T59" fmla="*/ 544 h 600"/>
                <a:gd name="T60" fmla="*/ 539 w 725"/>
                <a:gd name="T61" fmla="*/ 528 h 600"/>
                <a:gd name="T62" fmla="*/ 632 w 725"/>
                <a:gd name="T63" fmla="*/ 520 h 600"/>
                <a:gd name="T64" fmla="*/ 641 w 725"/>
                <a:gd name="T65" fmla="*/ 424 h 600"/>
                <a:gd name="T66" fmla="*/ 674 w 725"/>
                <a:gd name="T67" fmla="*/ 368 h 60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725" h="600">
                  <a:moveTo>
                    <a:pt x="657" y="344"/>
                  </a:moveTo>
                  <a:lnTo>
                    <a:pt x="657" y="320"/>
                  </a:lnTo>
                  <a:lnTo>
                    <a:pt x="632" y="304"/>
                  </a:lnTo>
                  <a:lnTo>
                    <a:pt x="641" y="280"/>
                  </a:lnTo>
                  <a:lnTo>
                    <a:pt x="691" y="272"/>
                  </a:lnTo>
                  <a:lnTo>
                    <a:pt x="708" y="256"/>
                  </a:lnTo>
                  <a:lnTo>
                    <a:pt x="725" y="232"/>
                  </a:lnTo>
                  <a:lnTo>
                    <a:pt x="700" y="208"/>
                  </a:lnTo>
                  <a:lnTo>
                    <a:pt x="632" y="192"/>
                  </a:lnTo>
                  <a:lnTo>
                    <a:pt x="624" y="168"/>
                  </a:lnTo>
                  <a:lnTo>
                    <a:pt x="582" y="160"/>
                  </a:lnTo>
                  <a:lnTo>
                    <a:pt x="548" y="136"/>
                  </a:lnTo>
                  <a:lnTo>
                    <a:pt x="548" y="120"/>
                  </a:lnTo>
                  <a:lnTo>
                    <a:pt x="514" y="104"/>
                  </a:lnTo>
                  <a:lnTo>
                    <a:pt x="514" y="72"/>
                  </a:lnTo>
                  <a:lnTo>
                    <a:pt x="506" y="40"/>
                  </a:lnTo>
                  <a:lnTo>
                    <a:pt x="472" y="16"/>
                  </a:lnTo>
                  <a:lnTo>
                    <a:pt x="438" y="8"/>
                  </a:lnTo>
                  <a:lnTo>
                    <a:pt x="396" y="32"/>
                  </a:lnTo>
                  <a:lnTo>
                    <a:pt x="379" y="16"/>
                  </a:lnTo>
                  <a:lnTo>
                    <a:pt x="346" y="8"/>
                  </a:lnTo>
                  <a:lnTo>
                    <a:pt x="329" y="16"/>
                  </a:lnTo>
                  <a:lnTo>
                    <a:pt x="303" y="0"/>
                  </a:lnTo>
                  <a:lnTo>
                    <a:pt x="278" y="0"/>
                  </a:lnTo>
                  <a:lnTo>
                    <a:pt x="245" y="64"/>
                  </a:lnTo>
                  <a:lnTo>
                    <a:pt x="202" y="64"/>
                  </a:lnTo>
                  <a:lnTo>
                    <a:pt x="177" y="80"/>
                  </a:lnTo>
                  <a:lnTo>
                    <a:pt x="186" y="88"/>
                  </a:lnTo>
                  <a:lnTo>
                    <a:pt x="186" y="120"/>
                  </a:lnTo>
                  <a:lnTo>
                    <a:pt x="211" y="128"/>
                  </a:lnTo>
                  <a:lnTo>
                    <a:pt x="202" y="144"/>
                  </a:lnTo>
                  <a:lnTo>
                    <a:pt x="177" y="152"/>
                  </a:lnTo>
                  <a:lnTo>
                    <a:pt x="169" y="176"/>
                  </a:lnTo>
                  <a:lnTo>
                    <a:pt x="143" y="184"/>
                  </a:lnTo>
                  <a:lnTo>
                    <a:pt x="143" y="216"/>
                  </a:lnTo>
                  <a:lnTo>
                    <a:pt x="143" y="248"/>
                  </a:lnTo>
                  <a:lnTo>
                    <a:pt x="160" y="280"/>
                  </a:lnTo>
                  <a:lnTo>
                    <a:pt x="135" y="272"/>
                  </a:lnTo>
                  <a:lnTo>
                    <a:pt x="110" y="288"/>
                  </a:lnTo>
                  <a:lnTo>
                    <a:pt x="76" y="296"/>
                  </a:lnTo>
                  <a:lnTo>
                    <a:pt x="84" y="320"/>
                  </a:lnTo>
                  <a:lnTo>
                    <a:pt x="68" y="328"/>
                  </a:lnTo>
                  <a:lnTo>
                    <a:pt x="34" y="320"/>
                  </a:lnTo>
                  <a:lnTo>
                    <a:pt x="0" y="344"/>
                  </a:lnTo>
                  <a:lnTo>
                    <a:pt x="17" y="384"/>
                  </a:lnTo>
                  <a:lnTo>
                    <a:pt x="59" y="464"/>
                  </a:lnTo>
                  <a:lnTo>
                    <a:pt x="17" y="512"/>
                  </a:lnTo>
                  <a:lnTo>
                    <a:pt x="17" y="536"/>
                  </a:lnTo>
                  <a:lnTo>
                    <a:pt x="51" y="544"/>
                  </a:lnTo>
                  <a:lnTo>
                    <a:pt x="59" y="600"/>
                  </a:lnTo>
                  <a:lnTo>
                    <a:pt x="93" y="600"/>
                  </a:lnTo>
                  <a:lnTo>
                    <a:pt x="110" y="576"/>
                  </a:lnTo>
                  <a:lnTo>
                    <a:pt x="152" y="552"/>
                  </a:lnTo>
                  <a:lnTo>
                    <a:pt x="211" y="544"/>
                  </a:lnTo>
                  <a:lnTo>
                    <a:pt x="303" y="536"/>
                  </a:lnTo>
                  <a:lnTo>
                    <a:pt x="362" y="528"/>
                  </a:lnTo>
                  <a:lnTo>
                    <a:pt x="396" y="552"/>
                  </a:lnTo>
                  <a:lnTo>
                    <a:pt x="421" y="528"/>
                  </a:lnTo>
                  <a:lnTo>
                    <a:pt x="455" y="528"/>
                  </a:lnTo>
                  <a:lnTo>
                    <a:pt x="489" y="544"/>
                  </a:lnTo>
                  <a:lnTo>
                    <a:pt x="514" y="512"/>
                  </a:lnTo>
                  <a:lnTo>
                    <a:pt x="539" y="528"/>
                  </a:lnTo>
                  <a:lnTo>
                    <a:pt x="582" y="504"/>
                  </a:lnTo>
                  <a:lnTo>
                    <a:pt x="632" y="520"/>
                  </a:lnTo>
                  <a:lnTo>
                    <a:pt x="624" y="488"/>
                  </a:lnTo>
                  <a:lnTo>
                    <a:pt x="641" y="424"/>
                  </a:lnTo>
                  <a:lnTo>
                    <a:pt x="700" y="400"/>
                  </a:lnTo>
                  <a:lnTo>
                    <a:pt x="674" y="368"/>
                  </a:lnTo>
                  <a:lnTo>
                    <a:pt x="657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39" name="Freeform 93"/>
            <p:cNvSpPr>
              <a:spLocks/>
            </p:cNvSpPr>
            <p:nvPr/>
          </p:nvSpPr>
          <p:spPr bwMode="auto">
            <a:xfrm>
              <a:off x="4569" y="1600"/>
              <a:ext cx="531" cy="280"/>
            </a:xfrm>
            <a:custGeom>
              <a:avLst/>
              <a:gdLst>
                <a:gd name="T0" fmla="*/ 472 w 531"/>
                <a:gd name="T1" fmla="*/ 80 h 280"/>
                <a:gd name="T2" fmla="*/ 464 w 531"/>
                <a:gd name="T3" fmla="*/ 40 h 280"/>
                <a:gd name="T4" fmla="*/ 413 w 531"/>
                <a:gd name="T5" fmla="*/ 32 h 280"/>
                <a:gd name="T6" fmla="*/ 371 w 531"/>
                <a:gd name="T7" fmla="*/ 40 h 280"/>
                <a:gd name="T8" fmla="*/ 304 w 531"/>
                <a:gd name="T9" fmla="*/ 0 h 280"/>
                <a:gd name="T10" fmla="*/ 262 w 531"/>
                <a:gd name="T11" fmla="*/ 0 h 280"/>
                <a:gd name="T12" fmla="*/ 211 w 531"/>
                <a:gd name="T13" fmla="*/ 32 h 280"/>
                <a:gd name="T14" fmla="*/ 211 w 531"/>
                <a:gd name="T15" fmla="*/ 40 h 280"/>
                <a:gd name="T16" fmla="*/ 219 w 531"/>
                <a:gd name="T17" fmla="*/ 72 h 280"/>
                <a:gd name="T18" fmla="*/ 219 w 531"/>
                <a:gd name="T19" fmla="*/ 104 h 280"/>
                <a:gd name="T20" fmla="*/ 211 w 531"/>
                <a:gd name="T21" fmla="*/ 128 h 280"/>
                <a:gd name="T22" fmla="*/ 194 w 531"/>
                <a:gd name="T23" fmla="*/ 128 h 280"/>
                <a:gd name="T24" fmla="*/ 160 w 531"/>
                <a:gd name="T25" fmla="*/ 128 h 280"/>
                <a:gd name="T26" fmla="*/ 110 w 531"/>
                <a:gd name="T27" fmla="*/ 80 h 280"/>
                <a:gd name="T28" fmla="*/ 76 w 531"/>
                <a:gd name="T29" fmla="*/ 64 h 280"/>
                <a:gd name="T30" fmla="*/ 43 w 531"/>
                <a:gd name="T31" fmla="*/ 88 h 280"/>
                <a:gd name="T32" fmla="*/ 17 w 531"/>
                <a:gd name="T33" fmla="*/ 160 h 280"/>
                <a:gd name="T34" fmla="*/ 0 w 531"/>
                <a:gd name="T35" fmla="*/ 192 h 280"/>
                <a:gd name="T36" fmla="*/ 0 w 531"/>
                <a:gd name="T37" fmla="*/ 224 h 280"/>
                <a:gd name="T38" fmla="*/ 9 w 531"/>
                <a:gd name="T39" fmla="*/ 280 h 280"/>
                <a:gd name="T40" fmla="*/ 34 w 531"/>
                <a:gd name="T41" fmla="*/ 256 h 280"/>
                <a:gd name="T42" fmla="*/ 93 w 531"/>
                <a:gd name="T43" fmla="*/ 224 h 280"/>
                <a:gd name="T44" fmla="*/ 152 w 531"/>
                <a:gd name="T45" fmla="*/ 224 h 280"/>
                <a:gd name="T46" fmla="*/ 194 w 531"/>
                <a:gd name="T47" fmla="*/ 216 h 280"/>
                <a:gd name="T48" fmla="*/ 236 w 531"/>
                <a:gd name="T49" fmla="*/ 224 h 280"/>
                <a:gd name="T50" fmla="*/ 287 w 531"/>
                <a:gd name="T51" fmla="*/ 192 h 280"/>
                <a:gd name="T52" fmla="*/ 295 w 531"/>
                <a:gd name="T53" fmla="*/ 208 h 280"/>
                <a:gd name="T54" fmla="*/ 346 w 531"/>
                <a:gd name="T55" fmla="*/ 216 h 280"/>
                <a:gd name="T56" fmla="*/ 380 w 531"/>
                <a:gd name="T57" fmla="*/ 232 h 280"/>
                <a:gd name="T58" fmla="*/ 405 w 531"/>
                <a:gd name="T59" fmla="*/ 248 h 280"/>
                <a:gd name="T60" fmla="*/ 430 w 531"/>
                <a:gd name="T61" fmla="*/ 248 h 280"/>
                <a:gd name="T62" fmla="*/ 455 w 531"/>
                <a:gd name="T63" fmla="*/ 232 h 280"/>
                <a:gd name="T64" fmla="*/ 498 w 531"/>
                <a:gd name="T65" fmla="*/ 232 h 280"/>
                <a:gd name="T66" fmla="*/ 531 w 531"/>
                <a:gd name="T67" fmla="*/ 176 h 280"/>
                <a:gd name="T68" fmla="*/ 506 w 531"/>
                <a:gd name="T69" fmla="*/ 112 h 280"/>
                <a:gd name="T70" fmla="*/ 472 w 531"/>
                <a:gd name="T71" fmla="*/ 80 h 28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531" h="280">
                  <a:moveTo>
                    <a:pt x="472" y="80"/>
                  </a:moveTo>
                  <a:lnTo>
                    <a:pt x="464" y="40"/>
                  </a:lnTo>
                  <a:lnTo>
                    <a:pt x="413" y="32"/>
                  </a:lnTo>
                  <a:lnTo>
                    <a:pt x="371" y="40"/>
                  </a:lnTo>
                  <a:lnTo>
                    <a:pt x="304" y="0"/>
                  </a:lnTo>
                  <a:lnTo>
                    <a:pt x="262" y="0"/>
                  </a:lnTo>
                  <a:lnTo>
                    <a:pt x="211" y="32"/>
                  </a:lnTo>
                  <a:lnTo>
                    <a:pt x="211" y="40"/>
                  </a:lnTo>
                  <a:lnTo>
                    <a:pt x="219" y="72"/>
                  </a:lnTo>
                  <a:lnTo>
                    <a:pt x="219" y="104"/>
                  </a:lnTo>
                  <a:lnTo>
                    <a:pt x="211" y="128"/>
                  </a:lnTo>
                  <a:lnTo>
                    <a:pt x="194" y="128"/>
                  </a:lnTo>
                  <a:lnTo>
                    <a:pt x="160" y="128"/>
                  </a:lnTo>
                  <a:lnTo>
                    <a:pt x="110" y="80"/>
                  </a:lnTo>
                  <a:lnTo>
                    <a:pt x="76" y="64"/>
                  </a:lnTo>
                  <a:lnTo>
                    <a:pt x="43" y="88"/>
                  </a:lnTo>
                  <a:lnTo>
                    <a:pt x="17" y="160"/>
                  </a:lnTo>
                  <a:lnTo>
                    <a:pt x="0" y="192"/>
                  </a:lnTo>
                  <a:lnTo>
                    <a:pt x="0" y="224"/>
                  </a:lnTo>
                  <a:lnTo>
                    <a:pt x="9" y="280"/>
                  </a:lnTo>
                  <a:lnTo>
                    <a:pt x="34" y="256"/>
                  </a:lnTo>
                  <a:lnTo>
                    <a:pt x="93" y="224"/>
                  </a:lnTo>
                  <a:lnTo>
                    <a:pt x="152" y="224"/>
                  </a:lnTo>
                  <a:lnTo>
                    <a:pt x="194" y="216"/>
                  </a:lnTo>
                  <a:lnTo>
                    <a:pt x="236" y="224"/>
                  </a:lnTo>
                  <a:lnTo>
                    <a:pt x="287" y="192"/>
                  </a:lnTo>
                  <a:lnTo>
                    <a:pt x="295" y="208"/>
                  </a:lnTo>
                  <a:lnTo>
                    <a:pt x="346" y="216"/>
                  </a:lnTo>
                  <a:lnTo>
                    <a:pt x="380" y="232"/>
                  </a:lnTo>
                  <a:lnTo>
                    <a:pt x="405" y="248"/>
                  </a:lnTo>
                  <a:lnTo>
                    <a:pt x="430" y="248"/>
                  </a:lnTo>
                  <a:lnTo>
                    <a:pt x="455" y="232"/>
                  </a:lnTo>
                  <a:lnTo>
                    <a:pt x="498" y="232"/>
                  </a:lnTo>
                  <a:lnTo>
                    <a:pt x="531" y="176"/>
                  </a:lnTo>
                  <a:lnTo>
                    <a:pt x="506" y="112"/>
                  </a:lnTo>
                  <a:lnTo>
                    <a:pt x="472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40" name="Freeform 94"/>
            <p:cNvSpPr>
              <a:spLocks/>
            </p:cNvSpPr>
            <p:nvPr/>
          </p:nvSpPr>
          <p:spPr bwMode="auto">
            <a:xfrm>
              <a:off x="4822" y="1760"/>
              <a:ext cx="725" cy="600"/>
            </a:xfrm>
            <a:custGeom>
              <a:avLst/>
              <a:gdLst>
                <a:gd name="T0" fmla="*/ 657 w 725"/>
                <a:gd name="T1" fmla="*/ 320 h 600"/>
                <a:gd name="T2" fmla="*/ 641 w 725"/>
                <a:gd name="T3" fmla="*/ 280 h 600"/>
                <a:gd name="T4" fmla="*/ 708 w 725"/>
                <a:gd name="T5" fmla="*/ 256 h 600"/>
                <a:gd name="T6" fmla="*/ 700 w 725"/>
                <a:gd name="T7" fmla="*/ 208 h 600"/>
                <a:gd name="T8" fmla="*/ 624 w 725"/>
                <a:gd name="T9" fmla="*/ 168 h 600"/>
                <a:gd name="T10" fmla="*/ 548 w 725"/>
                <a:gd name="T11" fmla="*/ 136 h 600"/>
                <a:gd name="T12" fmla="*/ 514 w 725"/>
                <a:gd name="T13" fmla="*/ 104 h 600"/>
                <a:gd name="T14" fmla="*/ 506 w 725"/>
                <a:gd name="T15" fmla="*/ 40 h 600"/>
                <a:gd name="T16" fmla="*/ 438 w 725"/>
                <a:gd name="T17" fmla="*/ 8 h 600"/>
                <a:gd name="T18" fmla="*/ 379 w 725"/>
                <a:gd name="T19" fmla="*/ 16 h 600"/>
                <a:gd name="T20" fmla="*/ 329 w 725"/>
                <a:gd name="T21" fmla="*/ 16 h 600"/>
                <a:gd name="T22" fmla="*/ 278 w 725"/>
                <a:gd name="T23" fmla="*/ 0 h 600"/>
                <a:gd name="T24" fmla="*/ 202 w 725"/>
                <a:gd name="T25" fmla="*/ 64 h 600"/>
                <a:gd name="T26" fmla="*/ 186 w 725"/>
                <a:gd name="T27" fmla="*/ 88 h 600"/>
                <a:gd name="T28" fmla="*/ 211 w 725"/>
                <a:gd name="T29" fmla="*/ 128 h 600"/>
                <a:gd name="T30" fmla="*/ 177 w 725"/>
                <a:gd name="T31" fmla="*/ 152 h 600"/>
                <a:gd name="T32" fmla="*/ 143 w 725"/>
                <a:gd name="T33" fmla="*/ 184 h 600"/>
                <a:gd name="T34" fmla="*/ 143 w 725"/>
                <a:gd name="T35" fmla="*/ 248 h 600"/>
                <a:gd name="T36" fmla="*/ 135 w 725"/>
                <a:gd name="T37" fmla="*/ 272 h 600"/>
                <a:gd name="T38" fmla="*/ 76 w 725"/>
                <a:gd name="T39" fmla="*/ 296 h 600"/>
                <a:gd name="T40" fmla="*/ 68 w 725"/>
                <a:gd name="T41" fmla="*/ 328 h 600"/>
                <a:gd name="T42" fmla="*/ 0 w 725"/>
                <a:gd name="T43" fmla="*/ 344 h 600"/>
                <a:gd name="T44" fmla="*/ 59 w 725"/>
                <a:gd name="T45" fmla="*/ 464 h 600"/>
                <a:gd name="T46" fmla="*/ 17 w 725"/>
                <a:gd name="T47" fmla="*/ 536 h 600"/>
                <a:gd name="T48" fmla="*/ 59 w 725"/>
                <a:gd name="T49" fmla="*/ 600 h 600"/>
                <a:gd name="T50" fmla="*/ 93 w 725"/>
                <a:gd name="T51" fmla="*/ 600 h 600"/>
                <a:gd name="T52" fmla="*/ 152 w 725"/>
                <a:gd name="T53" fmla="*/ 552 h 600"/>
                <a:gd name="T54" fmla="*/ 303 w 725"/>
                <a:gd name="T55" fmla="*/ 536 h 600"/>
                <a:gd name="T56" fmla="*/ 396 w 725"/>
                <a:gd name="T57" fmla="*/ 552 h 600"/>
                <a:gd name="T58" fmla="*/ 455 w 725"/>
                <a:gd name="T59" fmla="*/ 528 h 600"/>
                <a:gd name="T60" fmla="*/ 514 w 725"/>
                <a:gd name="T61" fmla="*/ 512 h 600"/>
                <a:gd name="T62" fmla="*/ 582 w 725"/>
                <a:gd name="T63" fmla="*/ 504 h 600"/>
                <a:gd name="T64" fmla="*/ 624 w 725"/>
                <a:gd name="T65" fmla="*/ 488 h 600"/>
                <a:gd name="T66" fmla="*/ 700 w 725"/>
                <a:gd name="T67" fmla="*/ 400 h 600"/>
                <a:gd name="T68" fmla="*/ 657 w 725"/>
                <a:gd name="T69" fmla="*/ 344 h 60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725" h="600">
                  <a:moveTo>
                    <a:pt x="657" y="344"/>
                  </a:moveTo>
                  <a:lnTo>
                    <a:pt x="657" y="320"/>
                  </a:lnTo>
                  <a:lnTo>
                    <a:pt x="632" y="304"/>
                  </a:lnTo>
                  <a:lnTo>
                    <a:pt x="641" y="280"/>
                  </a:lnTo>
                  <a:lnTo>
                    <a:pt x="691" y="272"/>
                  </a:lnTo>
                  <a:lnTo>
                    <a:pt x="708" y="256"/>
                  </a:lnTo>
                  <a:lnTo>
                    <a:pt x="725" y="232"/>
                  </a:lnTo>
                  <a:lnTo>
                    <a:pt x="700" y="208"/>
                  </a:lnTo>
                  <a:lnTo>
                    <a:pt x="632" y="192"/>
                  </a:lnTo>
                  <a:lnTo>
                    <a:pt x="624" y="168"/>
                  </a:lnTo>
                  <a:lnTo>
                    <a:pt x="582" y="160"/>
                  </a:lnTo>
                  <a:lnTo>
                    <a:pt x="548" y="136"/>
                  </a:lnTo>
                  <a:lnTo>
                    <a:pt x="548" y="120"/>
                  </a:lnTo>
                  <a:lnTo>
                    <a:pt x="514" y="104"/>
                  </a:lnTo>
                  <a:lnTo>
                    <a:pt x="514" y="72"/>
                  </a:lnTo>
                  <a:lnTo>
                    <a:pt x="506" y="40"/>
                  </a:lnTo>
                  <a:lnTo>
                    <a:pt x="472" y="16"/>
                  </a:lnTo>
                  <a:lnTo>
                    <a:pt x="438" y="8"/>
                  </a:lnTo>
                  <a:lnTo>
                    <a:pt x="396" y="32"/>
                  </a:lnTo>
                  <a:lnTo>
                    <a:pt x="379" y="16"/>
                  </a:lnTo>
                  <a:lnTo>
                    <a:pt x="346" y="8"/>
                  </a:lnTo>
                  <a:lnTo>
                    <a:pt x="329" y="16"/>
                  </a:lnTo>
                  <a:lnTo>
                    <a:pt x="303" y="0"/>
                  </a:lnTo>
                  <a:lnTo>
                    <a:pt x="278" y="0"/>
                  </a:lnTo>
                  <a:lnTo>
                    <a:pt x="245" y="64"/>
                  </a:lnTo>
                  <a:lnTo>
                    <a:pt x="202" y="64"/>
                  </a:lnTo>
                  <a:lnTo>
                    <a:pt x="177" y="80"/>
                  </a:lnTo>
                  <a:lnTo>
                    <a:pt x="186" y="88"/>
                  </a:lnTo>
                  <a:lnTo>
                    <a:pt x="186" y="120"/>
                  </a:lnTo>
                  <a:lnTo>
                    <a:pt x="211" y="128"/>
                  </a:lnTo>
                  <a:lnTo>
                    <a:pt x="202" y="144"/>
                  </a:lnTo>
                  <a:lnTo>
                    <a:pt x="177" y="152"/>
                  </a:lnTo>
                  <a:lnTo>
                    <a:pt x="169" y="176"/>
                  </a:lnTo>
                  <a:lnTo>
                    <a:pt x="143" y="184"/>
                  </a:lnTo>
                  <a:lnTo>
                    <a:pt x="143" y="216"/>
                  </a:lnTo>
                  <a:lnTo>
                    <a:pt x="143" y="248"/>
                  </a:lnTo>
                  <a:lnTo>
                    <a:pt x="160" y="280"/>
                  </a:lnTo>
                  <a:lnTo>
                    <a:pt x="135" y="272"/>
                  </a:lnTo>
                  <a:lnTo>
                    <a:pt x="110" y="288"/>
                  </a:lnTo>
                  <a:lnTo>
                    <a:pt x="76" y="296"/>
                  </a:lnTo>
                  <a:lnTo>
                    <a:pt x="84" y="320"/>
                  </a:lnTo>
                  <a:lnTo>
                    <a:pt x="68" y="328"/>
                  </a:lnTo>
                  <a:lnTo>
                    <a:pt x="34" y="320"/>
                  </a:lnTo>
                  <a:lnTo>
                    <a:pt x="0" y="344"/>
                  </a:lnTo>
                  <a:lnTo>
                    <a:pt x="17" y="384"/>
                  </a:lnTo>
                  <a:lnTo>
                    <a:pt x="59" y="464"/>
                  </a:lnTo>
                  <a:lnTo>
                    <a:pt x="17" y="512"/>
                  </a:lnTo>
                  <a:lnTo>
                    <a:pt x="17" y="536"/>
                  </a:lnTo>
                  <a:lnTo>
                    <a:pt x="51" y="544"/>
                  </a:lnTo>
                  <a:lnTo>
                    <a:pt x="59" y="600"/>
                  </a:lnTo>
                  <a:lnTo>
                    <a:pt x="93" y="600"/>
                  </a:lnTo>
                  <a:lnTo>
                    <a:pt x="110" y="576"/>
                  </a:lnTo>
                  <a:lnTo>
                    <a:pt x="152" y="552"/>
                  </a:lnTo>
                  <a:lnTo>
                    <a:pt x="211" y="544"/>
                  </a:lnTo>
                  <a:lnTo>
                    <a:pt x="303" y="536"/>
                  </a:lnTo>
                  <a:lnTo>
                    <a:pt x="362" y="528"/>
                  </a:lnTo>
                  <a:lnTo>
                    <a:pt x="396" y="552"/>
                  </a:lnTo>
                  <a:lnTo>
                    <a:pt x="421" y="528"/>
                  </a:lnTo>
                  <a:lnTo>
                    <a:pt x="455" y="528"/>
                  </a:lnTo>
                  <a:lnTo>
                    <a:pt x="489" y="544"/>
                  </a:lnTo>
                  <a:lnTo>
                    <a:pt x="514" y="512"/>
                  </a:lnTo>
                  <a:lnTo>
                    <a:pt x="539" y="528"/>
                  </a:lnTo>
                  <a:lnTo>
                    <a:pt x="582" y="504"/>
                  </a:lnTo>
                  <a:lnTo>
                    <a:pt x="632" y="520"/>
                  </a:lnTo>
                  <a:lnTo>
                    <a:pt x="624" y="488"/>
                  </a:lnTo>
                  <a:lnTo>
                    <a:pt x="641" y="424"/>
                  </a:lnTo>
                  <a:lnTo>
                    <a:pt x="700" y="400"/>
                  </a:lnTo>
                  <a:lnTo>
                    <a:pt x="674" y="368"/>
                  </a:lnTo>
                  <a:lnTo>
                    <a:pt x="657" y="34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41" name="Freeform 95"/>
            <p:cNvSpPr>
              <a:spLocks/>
            </p:cNvSpPr>
            <p:nvPr/>
          </p:nvSpPr>
          <p:spPr bwMode="auto">
            <a:xfrm>
              <a:off x="4569" y="1592"/>
              <a:ext cx="531" cy="280"/>
            </a:xfrm>
            <a:custGeom>
              <a:avLst/>
              <a:gdLst>
                <a:gd name="T0" fmla="*/ 472 w 531"/>
                <a:gd name="T1" fmla="*/ 80 h 280"/>
                <a:gd name="T2" fmla="*/ 464 w 531"/>
                <a:gd name="T3" fmla="*/ 40 h 280"/>
                <a:gd name="T4" fmla="*/ 413 w 531"/>
                <a:gd name="T5" fmla="*/ 32 h 280"/>
                <a:gd name="T6" fmla="*/ 371 w 531"/>
                <a:gd name="T7" fmla="*/ 40 h 280"/>
                <a:gd name="T8" fmla="*/ 304 w 531"/>
                <a:gd name="T9" fmla="*/ 0 h 280"/>
                <a:gd name="T10" fmla="*/ 262 w 531"/>
                <a:gd name="T11" fmla="*/ 0 h 280"/>
                <a:gd name="T12" fmla="*/ 211 w 531"/>
                <a:gd name="T13" fmla="*/ 32 h 280"/>
                <a:gd name="T14" fmla="*/ 211 w 531"/>
                <a:gd name="T15" fmla="*/ 40 h 280"/>
                <a:gd name="T16" fmla="*/ 219 w 531"/>
                <a:gd name="T17" fmla="*/ 72 h 280"/>
                <a:gd name="T18" fmla="*/ 219 w 531"/>
                <a:gd name="T19" fmla="*/ 104 h 280"/>
                <a:gd name="T20" fmla="*/ 211 w 531"/>
                <a:gd name="T21" fmla="*/ 128 h 280"/>
                <a:gd name="T22" fmla="*/ 194 w 531"/>
                <a:gd name="T23" fmla="*/ 128 h 280"/>
                <a:gd name="T24" fmla="*/ 160 w 531"/>
                <a:gd name="T25" fmla="*/ 128 h 280"/>
                <a:gd name="T26" fmla="*/ 110 w 531"/>
                <a:gd name="T27" fmla="*/ 80 h 280"/>
                <a:gd name="T28" fmla="*/ 76 w 531"/>
                <a:gd name="T29" fmla="*/ 64 h 280"/>
                <a:gd name="T30" fmla="*/ 43 w 531"/>
                <a:gd name="T31" fmla="*/ 88 h 280"/>
                <a:gd name="T32" fmla="*/ 17 w 531"/>
                <a:gd name="T33" fmla="*/ 160 h 280"/>
                <a:gd name="T34" fmla="*/ 0 w 531"/>
                <a:gd name="T35" fmla="*/ 192 h 280"/>
                <a:gd name="T36" fmla="*/ 0 w 531"/>
                <a:gd name="T37" fmla="*/ 224 h 280"/>
                <a:gd name="T38" fmla="*/ 9 w 531"/>
                <a:gd name="T39" fmla="*/ 280 h 280"/>
                <a:gd name="T40" fmla="*/ 34 w 531"/>
                <a:gd name="T41" fmla="*/ 256 h 280"/>
                <a:gd name="T42" fmla="*/ 93 w 531"/>
                <a:gd name="T43" fmla="*/ 224 h 280"/>
                <a:gd name="T44" fmla="*/ 152 w 531"/>
                <a:gd name="T45" fmla="*/ 224 h 280"/>
                <a:gd name="T46" fmla="*/ 194 w 531"/>
                <a:gd name="T47" fmla="*/ 216 h 280"/>
                <a:gd name="T48" fmla="*/ 236 w 531"/>
                <a:gd name="T49" fmla="*/ 224 h 280"/>
                <a:gd name="T50" fmla="*/ 287 w 531"/>
                <a:gd name="T51" fmla="*/ 192 h 280"/>
                <a:gd name="T52" fmla="*/ 295 w 531"/>
                <a:gd name="T53" fmla="*/ 208 h 280"/>
                <a:gd name="T54" fmla="*/ 346 w 531"/>
                <a:gd name="T55" fmla="*/ 216 h 280"/>
                <a:gd name="T56" fmla="*/ 380 w 531"/>
                <a:gd name="T57" fmla="*/ 232 h 280"/>
                <a:gd name="T58" fmla="*/ 405 w 531"/>
                <a:gd name="T59" fmla="*/ 248 h 280"/>
                <a:gd name="T60" fmla="*/ 430 w 531"/>
                <a:gd name="T61" fmla="*/ 248 h 280"/>
                <a:gd name="T62" fmla="*/ 455 w 531"/>
                <a:gd name="T63" fmla="*/ 232 h 280"/>
                <a:gd name="T64" fmla="*/ 498 w 531"/>
                <a:gd name="T65" fmla="*/ 232 h 280"/>
                <a:gd name="T66" fmla="*/ 531 w 531"/>
                <a:gd name="T67" fmla="*/ 176 h 280"/>
                <a:gd name="T68" fmla="*/ 506 w 531"/>
                <a:gd name="T69" fmla="*/ 112 h 280"/>
                <a:gd name="T70" fmla="*/ 472 w 531"/>
                <a:gd name="T71" fmla="*/ 80 h 28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531" h="280">
                  <a:moveTo>
                    <a:pt x="472" y="80"/>
                  </a:moveTo>
                  <a:lnTo>
                    <a:pt x="464" y="40"/>
                  </a:lnTo>
                  <a:lnTo>
                    <a:pt x="413" y="32"/>
                  </a:lnTo>
                  <a:lnTo>
                    <a:pt x="371" y="40"/>
                  </a:lnTo>
                  <a:lnTo>
                    <a:pt x="304" y="0"/>
                  </a:lnTo>
                  <a:lnTo>
                    <a:pt x="262" y="0"/>
                  </a:lnTo>
                  <a:lnTo>
                    <a:pt x="211" y="32"/>
                  </a:lnTo>
                  <a:lnTo>
                    <a:pt x="211" y="40"/>
                  </a:lnTo>
                  <a:lnTo>
                    <a:pt x="219" y="72"/>
                  </a:lnTo>
                  <a:lnTo>
                    <a:pt x="219" y="104"/>
                  </a:lnTo>
                  <a:lnTo>
                    <a:pt x="211" y="128"/>
                  </a:lnTo>
                  <a:lnTo>
                    <a:pt x="194" y="128"/>
                  </a:lnTo>
                  <a:lnTo>
                    <a:pt x="160" y="128"/>
                  </a:lnTo>
                  <a:lnTo>
                    <a:pt x="110" y="80"/>
                  </a:lnTo>
                  <a:lnTo>
                    <a:pt x="76" y="64"/>
                  </a:lnTo>
                  <a:lnTo>
                    <a:pt x="43" y="88"/>
                  </a:lnTo>
                  <a:lnTo>
                    <a:pt x="17" y="160"/>
                  </a:lnTo>
                  <a:lnTo>
                    <a:pt x="0" y="192"/>
                  </a:lnTo>
                  <a:lnTo>
                    <a:pt x="0" y="224"/>
                  </a:lnTo>
                  <a:lnTo>
                    <a:pt x="9" y="280"/>
                  </a:lnTo>
                  <a:lnTo>
                    <a:pt x="34" y="256"/>
                  </a:lnTo>
                  <a:lnTo>
                    <a:pt x="93" y="224"/>
                  </a:lnTo>
                  <a:lnTo>
                    <a:pt x="152" y="224"/>
                  </a:lnTo>
                  <a:lnTo>
                    <a:pt x="194" y="216"/>
                  </a:lnTo>
                  <a:lnTo>
                    <a:pt x="236" y="224"/>
                  </a:lnTo>
                  <a:lnTo>
                    <a:pt x="287" y="192"/>
                  </a:lnTo>
                  <a:lnTo>
                    <a:pt x="295" y="208"/>
                  </a:lnTo>
                  <a:lnTo>
                    <a:pt x="346" y="216"/>
                  </a:lnTo>
                  <a:lnTo>
                    <a:pt x="380" y="232"/>
                  </a:lnTo>
                  <a:lnTo>
                    <a:pt x="405" y="248"/>
                  </a:lnTo>
                  <a:lnTo>
                    <a:pt x="430" y="248"/>
                  </a:lnTo>
                  <a:lnTo>
                    <a:pt x="455" y="232"/>
                  </a:lnTo>
                  <a:lnTo>
                    <a:pt x="498" y="232"/>
                  </a:lnTo>
                  <a:lnTo>
                    <a:pt x="531" y="176"/>
                  </a:lnTo>
                  <a:lnTo>
                    <a:pt x="506" y="112"/>
                  </a:lnTo>
                  <a:lnTo>
                    <a:pt x="472" y="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42" name="Freeform 96"/>
            <p:cNvSpPr>
              <a:spLocks/>
            </p:cNvSpPr>
            <p:nvPr/>
          </p:nvSpPr>
          <p:spPr bwMode="auto">
            <a:xfrm>
              <a:off x="4679" y="1392"/>
              <a:ext cx="337" cy="248"/>
            </a:xfrm>
            <a:custGeom>
              <a:avLst/>
              <a:gdLst>
                <a:gd name="T0" fmla="*/ 295 w 337"/>
                <a:gd name="T1" fmla="*/ 128 h 248"/>
                <a:gd name="T2" fmla="*/ 295 w 337"/>
                <a:gd name="T3" fmla="*/ 64 h 248"/>
                <a:gd name="T4" fmla="*/ 295 w 337"/>
                <a:gd name="T5" fmla="*/ 16 h 248"/>
                <a:gd name="T6" fmla="*/ 286 w 337"/>
                <a:gd name="T7" fmla="*/ 0 h 248"/>
                <a:gd name="T8" fmla="*/ 236 w 337"/>
                <a:gd name="T9" fmla="*/ 8 h 248"/>
                <a:gd name="T10" fmla="*/ 126 w 337"/>
                <a:gd name="T11" fmla="*/ 16 h 248"/>
                <a:gd name="T12" fmla="*/ 67 w 337"/>
                <a:gd name="T13" fmla="*/ 40 h 248"/>
                <a:gd name="T14" fmla="*/ 25 w 337"/>
                <a:gd name="T15" fmla="*/ 64 h 248"/>
                <a:gd name="T16" fmla="*/ 8 w 337"/>
                <a:gd name="T17" fmla="*/ 88 h 248"/>
                <a:gd name="T18" fmla="*/ 0 w 337"/>
                <a:gd name="T19" fmla="*/ 112 h 248"/>
                <a:gd name="T20" fmla="*/ 25 w 337"/>
                <a:gd name="T21" fmla="*/ 128 h 248"/>
                <a:gd name="T22" fmla="*/ 17 w 337"/>
                <a:gd name="T23" fmla="*/ 152 h 248"/>
                <a:gd name="T24" fmla="*/ 25 w 337"/>
                <a:gd name="T25" fmla="*/ 176 h 248"/>
                <a:gd name="T26" fmla="*/ 42 w 337"/>
                <a:gd name="T27" fmla="*/ 184 h 248"/>
                <a:gd name="T28" fmla="*/ 67 w 337"/>
                <a:gd name="T29" fmla="*/ 184 h 248"/>
                <a:gd name="T30" fmla="*/ 93 w 337"/>
                <a:gd name="T31" fmla="*/ 176 h 248"/>
                <a:gd name="T32" fmla="*/ 101 w 337"/>
                <a:gd name="T33" fmla="*/ 240 h 248"/>
                <a:gd name="T34" fmla="*/ 152 w 337"/>
                <a:gd name="T35" fmla="*/ 208 h 248"/>
                <a:gd name="T36" fmla="*/ 194 w 337"/>
                <a:gd name="T37" fmla="*/ 208 h 248"/>
                <a:gd name="T38" fmla="*/ 261 w 337"/>
                <a:gd name="T39" fmla="*/ 248 h 248"/>
                <a:gd name="T40" fmla="*/ 303 w 337"/>
                <a:gd name="T41" fmla="*/ 240 h 248"/>
                <a:gd name="T42" fmla="*/ 320 w 337"/>
                <a:gd name="T43" fmla="*/ 240 h 248"/>
                <a:gd name="T44" fmla="*/ 337 w 337"/>
                <a:gd name="T45" fmla="*/ 176 h 248"/>
                <a:gd name="T46" fmla="*/ 295 w 337"/>
                <a:gd name="T47" fmla="*/ 128 h 24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37" h="248">
                  <a:moveTo>
                    <a:pt x="295" y="128"/>
                  </a:moveTo>
                  <a:lnTo>
                    <a:pt x="295" y="64"/>
                  </a:lnTo>
                  <a:lnTo>
                    <a:pt x="295" y="16"/>
                  </a:lnTo>
                  <a:lnTo>
                    <a:pt x="286" y="0"/>
                  </a:lnTo>
                  <a:lnTo>
                    <a:pt x="236" y="8"/>
                  </a:lnTo>
                  <a:lnTo>
                    <a:pt x="126" y="16"/>
                  </a:lnTo>
                  <a:lnTo>
                    <a:pt x="67" y="40"/>
                  </a:lnTo>
                  <a:lnTo>
                    <a:pt x="25" y="64"/>
                  </a:lnTo>
                  <a:lnTo>
                    <a:pt x="8" y="88"/>
                  </a:lnTo>
                  <a:lnTo>
                    <a:pt x="0" y="112"/>
                  </a:lnTo>
                  <a:lnTo>
                    <a:pt x="25" y="128"/>
                  </a:lnTo>
                  <a:lnTo>
                    <a:pt x="17" y="152"/>
                  </a:lnTo>
                  <a:lnTo>
                    <a:pt x="25" y="176"/>
                  </a:lnTo>
                  <a:lnTo>
                    <a:pt x="42" y="184"/>
                  </a:lnTo>
                  <a:lnTo>
                    <a:pt x="67" y="184"/>
                  </a:lnTo>
                  <a:lnTo>
                    <a:pt x="93" y="176"/>
                  </a:lnTo>
                  <a:lnTo>
                    <a:pt x="101" y="240"/>
                  </a:lnTo>
                  <a:lnTo>
                    <a:pt x="152" y="208"/>
                  </a:lnTo>
                  <a:lnTo>
                    <a:pt x="194" y="208"/>
                  </a:lnTo>
                  <a:lnTo>
                    <a:pt x="261" y="248"/>
                  </a:lnTo>
                  <a:lnTo>
                    <a:pt x="303" y="240"/>
                  </a:lnTo>
                  <a:lnTo>
                    <a:pt x="320" y="240"/>
                  </a:lnTo>
                  <a:lnTo>
                    <a:pt x="337" y="176"/>
                  </a:lnTo>
                  <a:lnTo>
                    <a:pt x="295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43" name="Freeform 97"/>
            <p:cNvSpPr>
              <a:spLocks/>
            </p:cNvSpPr>
            <p:nvPr/>
          </p:nvSpPr>
          <p:spPr bwMode="auto">
            <a:xfrm>
              <a:off x="4687" y="-8"/>
              <a:ext cx="1121" cy="2200"/>
            </a:xfrm>
            <a:custGeom>
              <a:avLst/>
              <a:gdLst>
                <a:gd name="T0" fmla="*/ 995 w 1121"/>
                <a:gd name="T1" fmla="*/ 64 h 2200"/>
                <a:gd name="T2" fmla="*/ 1003 w 1121"/>
                <a:gd name="T3" fmla="*/ 160 h 2200"/>
                <a:gd name="T4" fmla="*/ 919 w 1121"/>
                <a:gd name="T5" fmla="*/ 168 h 2200"/>
                <a:gd name="T6" fmla="*/ 877 w 1121"/>
                <a:gd name="T7" fmla="*/ 168 h 2200"/>
                <a:gd name="T8" fmla="*/ 893 w 1121"/>
                <a:gd name="T9" fmla="*/ 88 h 2200"/>
                <a:gd name="T10" fmla="*/ 851 w 1121"/>
                <a:gd name="T11" fmla="*/ 16 h 2200"/>
                <a:gd name="T12" fmla="*/ 700 w 1121"/>
                <a:gd name="T13" fmla="*/ 48 h 2200"/>
                <a:gd name="T14" fmla="*/ 809 w 1121"/>
                <a:gd name="T15" fmla="*/ 176 h 2200"/>
                <a:gd name="T16" fmla="*/ 877 w 1121"/>
                <a:gd name="T17" fmla="*/ 224 h 2200"/>
                <a:gd name="T18" fmla="*/ 851 w 1121"/>
                <a:gd name="T19" fmla="*/ 304 h 2200"/>
                <a:gd name="T20" fmla="*/ 784 w 1121"/>
                <a:gd name="T21" fmla="*/ 328 h 2200"/>
                <a:gd name="T22" fmla="*/ 725 w 1121"/>
                <a:gd name="T23" fmla="*/ 448 h 2200"/>
                <a:gd name="T24" fmla="*/ 818 w 1121"/>
                <a:gd name="T25" fmla="*/ 560 h 2200"/>
                <a:gd name="T26" fmla="*/ 599 w 1121"/>
                <a:gd name="T27" fmla="*/ 568 h 2200"/>
                <a:gd name="T28" fmla="*/ 607 w 1121"/>
                <a:gd name="T29" fmla="*/ 640 h 2200"/>
                <a:gd name="T30" fmla="*/ 700 w 1121"/>
                <a:gd name="T31" fmla="*/ 664 h 2200"/>
                <a:gd name="T32" fmla="*/ 674 w 1121"/>
                <a:gd name="T33" fmla="*/ 712 h 2200"/>
                <a:gd name="T34" fmla="*/ 548 w 1121"/>
                <a:gd name="T35" fmla="*/ 688 h 2200"/>
                <a:gd name="T36" fmla="*/ 447 w 1121"/>
                <a:gd name="T37" fmla="*/ 592 h 2200"/>
                <a:gd name="T38" fmla="*/ 430 w 1121"/>
                <a:gd name="T39" fmla="*/ 512 h 2200"/>
                <a:gd name="T40" fmla="*/ 253 w 1121"/>
                <a:gd name="T41" fmla="*/ 424 h 2200"/>
                <a:gd name="T42" fmla="*/ 396 w 1121"/>
                <a:gd name="T43" fmla="*/ 440 h 2200"/>
                <a:gd name="T44" fmla="*/ 658 w 1121"/>
                <a:gd name="T45" fmla="*/ 416 h 2200"/>
                <a:gd name="T46" fmla="*/ 717 w 1121"/>
                <a:gd name="T47" fmla="*/ 288 h 2200"/>
                <a:gd name="T48" fmla="*/ 599 w 1121"/>
                <a:gd name="T49" fmla="*/ 192 h 2200"/>
                <a:gd name="T50" fmla="*/ 304 w 1121"/>
                <a:gd name="T51" fmla="*/ 128 h 2200"/>
                <a:gd name="T52" fmla="*/ 186 w 1121"/>
                <a:gd name="T53" fmla="*/ 96 h 2200"/>
                <a:gd name="T54" fmla="*/ 110 w 1121"/>
                <a:gd name="T55" fmla="*/ 112 h 2200"/>
                <a:gd name="T56" fmla="*/ 42 w 1121"/>
                <a:gd name="T57" fmla="*/ 176 h 2200"/>
                <a:gd name="T58" fmla="*/ 26 w 1121"/>
                <a:gd name="T59" fmla="*/ 336 h 2200"/>
                <a:gd name="T60" fmla="*/ 93 w 1121"/>
                <a:gd name="T61" fmla="*/ 448 h 2200"/>
                <a:gd name="T62" fmla="*/ 169 w 1121"/>
                <a:gd name="T63" fmla="*/ 656 h 2200"/>
                <a:gd name="T64" fmla="*/ 287 w 1121"/>
                <a:gd name="T65" fmla="*/ 808 h 2200"/>
                <a:gd name="T66" fmla="*/ 388 w 1121"/>
                <a:gd name="T67" fmla="*/ 944 h 2200"/>
                <a:gd name="T68" fmla="*/ 287 w 1121"/>
                <a:gd name="T69" fmla="*/ 1152 h 2200"/>
                <a:gd name="T70" fmla="*/ 304 w 1121"/>
                <a:gd name="T71" fmla="*/ 1264 h 2200"/>
                <a:gd name="T72" fmla="*/ 396 w 1121"/>
                <a:gd name="T73" fmla="*/ 1296 h 2200"/>
                <a:gd name="T74" fmla="*/ 346 w 1121"/>
                <a:gd name="T75" fmla="*/ 1312 h 2200"/>
                <a:gd name="T76" fmla="*/ 287 w 1121"/>
                <a:gd name="T77" fmla="*/ 1368 h 2200"/>
                <a:gd name="T78" fmla="*/ 287 w 1121"/>
                <a:gd name="T79" fmla="*/ 1408 h 2200"/>
                <a:gd name="T80" fmla="*/ 329 w 1121"/>
                <a:gd name="T81" fmla="*/ 1568 h 2200"/>
                <a:gd name="T82" fmla="*/ 354 w 1121"/>
                <a:gd name="T83" fmla="*/ 1680 h 2200"/>
                <a:gd name="T84" fmla="*/ 413 w 1121"/>
                <a:gd name="T85" fmla="*/ 1768 h 2200"/>
                <a:gd name="T86" fmla="*/ 481 w 1121"/>
                <a:gd name="T87" fmla="*/ 1776 h 2200"/>
                <a:gd name="T88" fmla="*/ 573 w 1121"/>
                <a:gd name="T89" fmla="*/ 1776 h 2200"/>
                <a:gd name="T90" fmla="*/ 649 w 1121"/>
                <a:gd name="T91" fmla="*/ 1840 h 2200"/>
                <a:gd name="T92" fmla="*/ 683 w 1121"/>
                <a:gd name="T93" fmla="*/ 1904 h 2200"/>
                <a:gd name="T94" fmla="*/ 767 w 1121"/>
                <a:gd name="T95" fmla="*/ 1960 h 2200"/>
                <a:gd name="T96" fmla="*/ 843 w 1121"/>
                <a:gd name="T97" fmla="*/ 2024 h 2200"/>
                <a:gd name="T98" fmla="*/ 767 w 1121"/>
                <a:gd name="T99" fmla="*/ 2072 h 2200"/>
                <a:gd name="T100" fmla="*/ 809 w 1121"/>
                <a:gd name="T101" fmla="*/ 2136 h 2200"/>
                <a:gd name="T102" fmla="*/ 877 w 1121"/>
                <a:gd name="T103" fmla="*/ 2128 h 2200"/>
                <a:gd name="T104" fmla="*/ 1011 w 1121"/>
                <a:gd name="T105" fmla="*/ 2112 h 2200"/>
                <a:gd name="T106" fmla="*/ 1054 w 1121"/>
                <a:gd name="T107" fmla="*/ 2192 h 2200"/>
                <a:gd name="T108" fmla="*/ 1113 w 1121"/>
                <a:gd name="T109" fmla="*/ 1360 h 2200"/>
                <a:gd name="T110" fmla="*/ 1014 w 1121"/>
                <a:gd name="T111" fmla="*/ 13 h 22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21" h="2200">
                  <a:moveTo>
                    <a:pt x="1014" y="13"/>
                  </a:moveTo>
                  <a:lnTo>
                    <a:pt x="1011" y="6"/>
                  </a:lnTo>
                  <a:lnTo>
                    <a:pt x="995" y="64"/>
                  </a:lnTo>
                  <a:lnTo>
                    <a:pt x="1011" y="112"/>
                  </a:lnTo>
                  <a:lnTo>
                    <a:pt x="1011" y="136"/>
                  </a:lnTo>
                  <a:lnTo>
                    <a:pt x="1003" y="160"/>
                  </a:lnTo>
                  <a:lnTo>
                    <a:pt x="961" y="184"/>
                  </a:lnTo>
                  <a:lnTo>
                    <a:pt x="936" y="184"/>
                  </a:lnTo>
                  <a:lnTo>
                    <a:pt x="919" y="168"/>
                  </a:lnTo>
                  <a:lnTo>
                    <a:pt x="902" y="160"/>
                  </a:lnTo>
                  <a:lnTo>
                    <a:pt x="893" y="168"/>
                  </a:lnTo>
                  <a:lnTo>
                    <a:pt x="877" y="168"/>
                  </a:lnTo>
                  <a:lnTo>
                    <a:pt x="877" y="144"/>
                  </a:lnTo>
                  <a:lnTo>
                    <a:pt x="877" y="112"/>
                  </a:lnTo>
                  <a:lnTo>
                    <a:pt x="893" y="88"/>
                  </a:lnTo>
                  <a:lnTo>
                    <a:pt x="902" y="64"/>
                  </a:lnTo>
                  <a:lnTo>
                    <a:pt x="893" y="48"/>
                  </a:lnTo>
                  <a:lnTo>
                    <a:pt x="851" y="16"/>
                  </a:lnTo>
                  <a:lnTo>
                    <a:pt x="801" y="24"/>
                  </a:lnTo>
                  <a:lnTo>
                    <a:pt x="750" y="40"/>
                  </a:lnTo>
                  <a:lnTo>
                    <a:pt x="700" y="48"/>
                  </a:lnTo>
                  <a:lnTo>
                    <a:pt x="742" y="64"/>
                  </a:lnTo>
                  <a:lnTo>
                    <a:pt x="784" y="88"/>
                  </a:lnTo>
                  <a:lnTo>
                    <a:pt x="809" y="176"/>
                  </a:lnTo>
                  <a:lnTo>
                    <a:pt x="818" y="200"/>
                  </a:lnTo>
                  <a:lnTo>
                    <a:pt x="843" y="200"/>
                  </a:lnTo>
                  <a:lnTo>
                    <a:pt x="877" y="224"/>
                  </a:lnTo>
                  <a:lnTo>
                    <a:pt x="902" y="264"/>
                  </a:lnTo>
                  <a:lnTo>
                    <a:pt x="910" y="312"/>
                  </a:lnTo>
                  <a:lnTo>
                    <a:pt x="851" y="304"/>
                  </a:lnTo>
                  <a:lnTo>
                    <a:pt x="801" y="312"/>
                  </a:lnTo>
                  <a:lnTo>
                    <a:pt x="784" y="320"/>
                  </a:lnTo>
                  <a:lnTo>
                    <a:pt x="784" y="328"/>
                  </a:lnTo>
                  <a:lnTo>
                    <a:pt x="776" y="360"/>
                  </a:lnTo>
                  <a:lnTo>
                    <a:pt x="750" y="400"/>
                  </a:lnTo>
                  <a:lnTo>
                    <a:pt x="725" y="448"/>
                  </a:lnTo>
                  <a:lnTo>
                    <a:pt x="717" y="480"/>
                  </a:lnTo>
                  <a:lnTo>
                    <a:pt x="733" y="496"/>
                  </a:lnTo>
                  <a:lnTo>
                    <a:pt x="818" y="560"/>
                  </a:lnTo>
                  <a:lnTo>
                    <a:pt x="750" y="584"/>
                  </a:lnTo>
                  <a:lnTo>
                    <a:pt x="666" y="584"/>
                  </a:lnTo>
                  <a:lnTo>
                    <a:pt x="599" y="568"/>
                  </a:lnTo>
                  <a:lnTo>
                    <a:pt x="582" y="584"/>
                  </a:lnTo>
                  <a:lnTo>
                    <a:pt x="573" y="608"/>
                  </a:lnTo>
                  <a:lnTo>
                    <a:pt x="607" y="640"/>
                  </a:lnTo>
                  <a:lnTo>
                    <a:pt x="658" y="648"/>
                  </a:lnTo>
                  <a:lnTo>
                    <a:pt x="683" y="648"/>
                  </a:lnTo>
                  <a:lnTo>
                    <a:pt x="700" y="664"/>
                  </a:lnTo>
                  <a:lnTo>
                    <a:pt x="700" y="680"/>
                  </a:lnTo>
                  <a:lnTo>
                    <a:pt x="683" y="704"/>
                  </a:lnTo>
                  <a:lnTo>
                    <a:pt x="674" y="712"/>
                  </a:lnTo>
                  <a:lnTo>
                    <a:pt x="649" y="712"/>
                  </a:lnTo>
                  <a:lnTo>
                    <a:pt x="599" y="696"/>
                  </a:lnTo>
                  <a:lnTo>
                    <a:pt x="548" y="688"/>
                  </a:lnTo>
                  <a:lnTo>
                    <a:pt x="523" y="680"/>
                  </a:lnTo>
                  <a:lnTo>
                    <a:pt x="506" y="664"/>
                  </a:lnTo>
                  <a:lnTo>
                    <a:pt x="447" y="592"/>
                  </a:lnTo>
                  <a:lnTo>
                    <a:pt x="438" y="552"/>
                  </a:lnTo>
                  <a:lnTo>
                    <a:pt x="438" y="536"/>
                  </a:lnTo>
                  <a:lnTo>
                    <a:pt x="430" y="512"/>
                  </a:lnTo>
                  <a:lnTo>
                    <a:pt x="380" y="496"/>
                  </a:lnTo>
                  <a:lnTo>
                    <a:pt x="337" y="480"/>
                  </a:lnTo>
                  <a:lnTo>
                    <a:pt x="253" y="424"/>
                  </a:lnTo>
                  <a:lnTo>
                    <a:pt x="287" y="424"/>
                  </a:lnTo>
                  <a:lnTo>
                    <a:pt x="321" y="440"/>
                  </a:lnTo>
                  <a:lnTo>
                    <a:pt x="396" y="440"/>
                  </a:lnTo>
                  <a:lnTo>
                    <a:pt x="565" y="448"/>
                  </a:lnTo>
                  <a:lnTo>
                    <a:pt x="624" y="432"/>
                  </a:lnTo>
                  <a:lnTo>
                    <a:pt x="658" y="416"/>
                  </a:lnTo>
                  <a:lnTo>
                    <a:pt x="683" y="384"/>
                  </a:lnTo>
                  <a:lnTo>
                    <a:pt x="708" y="320"/>
                  </a:lnTo>
                  <a:lnTo>
                    <a:pt x="717" y="288"/>
                  </a:lnTo>
                  <a:lnTo>
                    <a:pt x="708" y="256"/>
                  </a:lnTo>
                  <a:lnTo>
                    <a:pt x="666" y="208"/>
                  </a:lnTo>
                  <a:lnTo>
                    <a:pt x="599" y="192"/>
                  </a:lnTo>
                  <a:lnTo>
                    <a:pt x="447" y="152"/>
                  </a:lnTo>
                  <a:lnTo>
                    <a:pt x="371" y="128"/>
                  </a:lnTo>
                  <a:lnTo>
                    <a:pt x="304" y="128"/>
                  </a:lnTo>
                  <a:lnTo>
                    <a:pt x="152" y="128"/>
                  </a:lnTo>
                  <a:lnTo>
                    <a:pt x="177" y="104"/>
                  </a:lnTo>
                  <a:lnTo>
                    <a:pt x="186" y="96"/>
                  </a:lnTo>
                  <a:lnTo>
                    <a:pt x="169" y="88"/>
                  </a:lnTo>
                  <a:lnTo>
                    <a:pt x="127" y="80"/>
                  </a:lnTo>
                  <a:lnTo>
                    <a:pt x="110" y="112"/>
                  </a:lnTo>
                  <a:lnTo>
                    <a:pt x="76" y="120"/>
                  </a:lnTo>
                  <a:lnTo>
                    <a:pt x="76" y="144"/>
                  </a:lnTo>
                  <a:lnTo>
                    <a:pt x="42" y="176"/>
                  </a:lnTo>
                  <a:lnTo>
                    <a:pt x="9" y="224"/>
                  </a:lnTo>
                  <a:lnTo>
                    <a:pt x="0" y="272"/>
                  </a:lnTo>
                  <a:lnTo>
                    <a:pt x="26" y="336"/>
                  </a:lnTo>
                  <a:lnTo>
                    <a:pt x="68" y="352"/>
                  </a:lnTo>
                  <a:lnTo>
                    <a:pt x="110" y="392"/>
                  </a:lnTo>
                  <a:lnTo>
                    <a:pt x="93" y="448"/>
                  </a:lnTo>
                  <a:lnTo>
                    <a:pt x="144" y="544"/>
                  </a:lnTo>
                  <a:lnTo>
                    <a:pt x="211" y="608"/>
                  </a:lnTo>
                  <a:lnTo>
                    <a:pt x="169" y="656"/>
                  </a:lnTo>
                  <a:lnTo>
                    <a:pt x="177" y="712"/>
                  </a:lnTo>
                  <a:lnTo>
                    <a:pt x="245" y="752"/>
                  </a:lnTo>
                  <a:lnTo>
                    <a:pt x="287" y="808"/>
                  </a:lnTo>
                  <a:lnTo>
                    <a:pt x="270" y="856"/>
                  </a:lnTo>
                  <a:lnTo>
                    <a:pt x="337" y="896"/>
                  </a:lnTo>
                  <a:lnTo>
                    <a:pt x="388" y="944"/>
                  </a:lnTo>
                  <a:lnTo>
                    <a:pt x="380" y="1008"/>
                  </a:lnTo>
                  <a:lnTo>
                    <a:pt x="337" y="1080"/>
                  </a:lnTo>
                  <a:lnTo>
                    <a:pt x="287" y="1152"/>
                  </a:lnTo>
                  <a:lnTo>
                    <a:pt x="262" y="1248"/>
                  </a:lnTo>
                  <a:lnTo>
                    <a:pt x="278" y="1232"/>
                  </a:lnTo>
                  <a:lnTo>
                    <a:pt x="304" y="1264"/>
                  </a:lnTo>
                  <a:lnTo>
                    <a:pt x="346" y="1280"/>
                  </a:lnTo>
                  <a:lnTo>
                    <a:pt x="396" y="1288"/>
                  </a:lnTo>
                  <a:lnTo>
                    <a:pt x="396" y="1296"/>
                  </a:lnTo>
                  <a:lnTo>
                    <a:pt x="388" y="1304"/>
                  </a:lnTo>
                  <a:lnTo>
                    <a:pt x="363" y="1312"/>
                  </a:lnTo>
                  <a:lnTo>
                    <a:pt x="346" y="1312"/>
                  </a:lnTo>
                  <a:lnTo>
                    <a:pt x="337" y="1336"/>
                  </a:lnTo>
                  <a:lnTo>
                    <a:pt x="287" y="1344"/>
                  </a:lnTo>
                  <a:lnTo>
                    <a:pt x="287" y="1368"/>
                  </a:lnTo>
                  <a:lnTo>
                    <a:pt x="287" y="1392"/>
                  </a:lnTo>
                  <a:lnTo>
                    <a:pt x="278" y="1392"/>
                  </a:lnTo>
                  <a:lnTo>
                    <a:pt x="287" y="1408"/>
                  </a:lnTo>
                  <a:lnTo>
                    <a:pt x="287" y="1456"/>
                  </a:lnTo>
                  <a:lnTo>
                    <a:pt x="287" y="1520"/>
                  </a:lnTo>
                  <a:lnTo>
                    <a:pt x="329" y="1568"/>
                  </a:lnTo>
                  <a:lnTo>
                    <a:pt x="312" y="1632"/>
                  </a:lnTo>
                  <a:lnTo>
                    <a:pt x="346" y="1640"/>
                  </a:lnTo>
                  <a:lnTo>
                    <a:pt x="354" y="1680"/>
                  </a:lnTo>
                  <a:lnTo>
                    <a:pt x="388" y="1712"/>
                  </a:lnTo>
                  <a:lnTo>
                    <a:pt x="413" y="1776"/>
                  </a:lnTo>
                  <a:lnTo>
                    <a:pt x="413" y="1768"/>
                  </a:lnTo>
                  <a:lnTo>
                    <a:pt x="438" y="1768"/>
                  </a:lnTo>
                  <a:lnTo>
                    <a:pt x="464" y="1784"/>
                  </a:lnTo>
                  <a:lnTo>
                    <a:pt x="481" y="1776"/>
                  </a:lnTo>
                  <a:lnTo>
                    <a:pt x="514" y="1784"/>
                  </a:lnTo>
                  <a:lnTo>
                    <a:pt x="531" y="1800"/>
                  </a:lnTo>
                  <a:lnTo>
                    <a:pt x="573" y="1776"/>
                  </a:lnTo>
                  <a:lnTo>
                    <a:pt x="607" y="1784"/>
                  </a:lnTo>
                  <a:lnTo>
                    <a:pt x="641" y="1808"/>
                  </a:lnTo>
                  <a:lnTo>
                    <a:pt x="649" y="1840"/>
                  </a:lnTo>
                  <a:lnTo>
                    <a:pt x="649" y="1872"/>
                  </a:lnTo>
                  <a:lnTo>
                    <a:pt x="683" y="1888"/>
                  </a:lnTo>
                  <a:lnTo>
                    <a:pt x="683" y="1904"/>
                  </a:lnTo>
                  <a:lnTo>
                    <a:pt x="717" y="1928"/>
                  </a:lnTo>
                  <a:lnTo>
                    <a:pt x="759" y="1936"/>
                  </a:lnTo>
                  <a:lnTo>
                    <a:pt x="767" y="1960"/>
                  </a:lnTo>
                  <a:lnTo>
                    <a:pt x="835" y="1976"/>
                  </a:lnTo>
                  <a:lnTo>
                    <a:pt x="860" y="2000"/>
                  </a:lnTo>
                  <a:lnTo>
                    <a:pt x="843" y="2024"/>
                  </a:lnTo>
                  <a:lnTo>
                    <a:pt x="826" y="2040"/>
                  </a:lnTo>
                  <a:lnTo>
                    <a:pt x="776" y="2048"/>
                  </a:lnTo>
                  <a:lnTo>
                    <a:pt x="767" y="2072"/>
                  </a:lnTo>
                  <a:lnTo>
                    <a:pt x="792" y="2088"/>
                  </a:lnTo>
                  <a:lnTo>
                    <a:pt x="792" y="2112"/>
                  </a:lnTo>
                  <a:lnTo>
                    <a:pt x="809" y="2136"/>
                  </a:lnTo>
                  <a:lnTo>
                    <a:pt x="835" y="2168"/>
                  </a:lnTo>
                  <a:lnTo>
                    <a:pt x="868" y="2168"/>
                  </a:lnTo>
                  <a:lnTo>
                    <a:pt x="877" y="2128"/>
                  </a:lnTo>
                  <a:lnTo>
                    <a:pt x="910" y="2128"/>
                  </a:lnTo>
                  <a:lnTo>
                    <a:pt x="969" y="2096"/>
                  </a:lnTo>
                  <a:lnTo>
                    <a:pt x="1011" y="2112"/>
                  </a:lnTo>
                  <a:lnTo>
                    <a:pt x="1054" y="2136"/>
                  </a:lnTo>
                  <a:lnTo>
                    <a:pt x="1037" y="2152"/>
                  </a:lnTo>
                  <a:lnTo>
                    <a:pt x="1054" y="2192"/>
                  </a:lnTo>
                  <a:lnTo>
                    <a:pt x="1079" y="2200"/>
                  </a:lnTo>
                  <a:lnTo>
                    <a:pt x="1113" y="2200"/>
                  </a:lnTo>
                  <a:lnTo>
                    <a:pt x="1113" y="1360"/>
                  </a:lnTo>
                  <a:lnTo>
                    <a:pt x="1121" y="0"/>
                  </a:lnTo>
                  <a:lnTo>
                    <a:pt x="1116" y="8"/>
                  </a:lnTo>
                  <a:lnTo>
                    <a:pt x="101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44" name="Freeform 98"/>
            <p:cNvSpPr>
              <a:spLocks/>
            </p:cNvSpPr>
            <p:nvPr/>
          </p:nvSpPr>
          <p:spPr bwMode="auto">
            <a:xfrm>
              <a:off x="4679" y="1384"/>
              <a:ext cx="337" cy="248"/>
            </a:xfrm>
            <a:custGeom>
              <a:avLst/>
              <a:gdLst>
                <a:gd name="T0" fmla="*/ 295 w 337"/>
                <a:gd name="T1" fmla="*/ 128 h 248"/>
                <a:gd name="T2" fmla="*/ 295 w 337"/>
                <a:gd name="T3" fmla="*/ 64 h 248"/>
                <a:gd name="T4" fmla="*/ 295 w 337"/>
                <a:gd name="T5" fmla="*/ 16 h 248"/>
                <a:gd name="T6" fmla="*/ 286 w 337"/>
                <a:gd name="T7" fmla="*/ 0 h 248"/>
                <a:gd name="T8" fmla="*/ 236 w 337"/>
                <a:gd name="T9" fmla="*/ 8 h 248"/>
                <a:gd name="T10" fmla="*/ 126 w 337"/>
                <a:gd name="T11" fmla="*/ 16 h 248"/>
                <a:gd name="T12" fmla="*/ 67 w 337"/>
                <a:gd name="T13" fmla="*/ 40 h 248"/>
                <a:gd name="T14" fmla="*/ 25 w 337"/>
                <a:gd name="T15" fmla="*/ 64 h 248"/>
                <a:gd name="T16" fmla="*/ 8 w 337"/>
                <a:gd name="T17" fmla="*/ 88 h 248"/>
                <a:gd name="T18" fmla="*/ 0 w 337"/>
                <a:gd name="T19" fmla="*/ 112 h 248"/>
                <a:gd name="T20" fmla="*/ 25 w 337"/>
                <a:gd name="T21" fmla="*/ 128 h 248"/>
                <a:gd name="T22" fmla="*/ 17 w 337"/>
                <a:gd name="T23" fmla="*/ 152 h 248"/>
                <a:gd name="T24" fmla="*/ 25 w 337"/>
                <a:gd name="T25" fmla="*/ 176 h 248"/>
                <a:gd name="T26" fmla="*/ 42 w 337"/>
                <a:gd name="T27" fmla="*/ 184 h 248"/>
                <a:gd name="T28" fmla="*/ 67 w 337"/>
                <a:gd name="T29" fmla="*/ 184 h 248"/>
                <a:gd name="T30" fmla="*/ 93 w 337"/>
                <a:gd name="T31" fmla="*/ 176 h 248"/>
                <a:gd name="T32" fmla="*/ 101 w 337"/>
                <a:gd name="T33" fmla="*/ 240 h 248"/>
                <a:gd name="T34" fmla="*/ 152 w 337"/>
                <a:gd name="T35" fmla="*/ 208 h 248"/>
                <a:gd name="T36" fmla="*/ 194 w 337"/>
                <a:gd name="T37" fmla="*/ 208 h 248"/>
                <a:gd name="T38" fmla="*/ 261 w 337"/>
                <a:gd name="T39" fmla="*/ 248 h 248"/>
                <a:gd name="T40" fmla="*/ 303 w 337"/>
                <a:gd name="T41" fmla="*/ 240 h 248"/>
                <a:gd name="T42" fmla="*/ 320 w 337"/>
                <a:gd name="T43" fmla="*/ 240 h 248"/>
                <a:gd name="T44" fmla="*/ 337 w 337"/>
                <a:gd name="T45" fmla="*/ 176 h 248"/>
                <a:gd name="T46" fmla="*/ 295 w 337"/>
                <a:gd name="T47" fmla="*/ 128 h 24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37" h="248">
                  <a:moveTo>
                    <a:pt x="295" y="128"/>
                  </a:moveTo>
                  <a:lnTo>
                    <a:pt x="295" y="64"/>
                  </a:lnTo>
                  <a:lnTo>
                    <a:pt x="295" y="16"/>
                  </a:lnTo>
                  <a:lnTo>
                    <a:pt x="286" y="0"/>
                  </a:lnTo>
                  <a:lnTo>
                    <a:pt x="236" y="8"/>
                  </a:lnTo>
                  <a:lnTo>
                    <a:pt x="126" y="16"/>
                  </a:lnTo>
                  <a:lnTo>
                    <a:pt x="67" y="40"/>
                  </a:lnTo>
                  <a:lnTo>
                    <a:pt x="25" y="64"/>
                  </a:lnTo>
                  <a:lnTo>
                    <a:pt x="8" y="88"/>
                  </a:lnTo>
                  <a:lnTo>
                    <a:pt x="0" y="112"/>
                  </a:lnTo>
                  <a:lnTo>
                    <a:pt x="25" y="128"/>
                  </a:lnTo>
                  <a:lnTo>
                    <a:pt x="17" y="152"/>
                  </a:lnTo>
                  <a:lnTo>
                    <a:pt x="25" y="176"/>
                  </a:lnTo>
                  <a:lnTo>
                    <a:pt x="42" y="184"/>
                  </a:lnTo>
                  <a:lnTo>
                    <a:pt x="67" y="184"/>
                  </a:lnTo>
                  <a:lnTo>
                    <a:pt x="93" y="176"/>
                  </a:lnTo>
                  <a:lnTo>
                    <a:pt x="101" y="240"/>
                  </a:lnTo>
                  <a:lnTo>
                    <a:pt x="152" y="208"/>
                  </a:lnTo>
                  <a:lnTo>
                    <a:pt x="194" y="208"/>
                  </a:lnTo>
                  <a:lnTo>
                    <a:pt x="261" y="248"/>
                  </a:lnTo>
                  <a:lnTo>
                    <a:pt x="303" y="240"/>
                  </a:lnTo>
                  <a:lnTo>
                    <a:pt x="320" y="240"/>
                  </a:lnTo>
                  <a:lnTo>
                    <a:pt x="337" y="176"/>
                  </a:lnTo>
                  <a:lnTo>
                    <a:pt x="295" y="12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45" name="Freeform 99"/>
            <p:cNvSpPr>
              <a:spLocks/>
            </p:cNvSpPr>
            <p:nvPr/>
          </p:nvSpPr>
          <p:spPr bwMode="auto">
            <a:xfrm>
              <a:off x="4687" y="2"/>
              <a:ext cx="1115" cy="2190"/>
            </a:xfrm>
            <a:custGeom>
              <a:avLst/>
              <a:gdLst>
                <a:gd name="T0" fmla="*/ 1011 w 1115"/>
                <a:gd name="T1" fmla="*/ 102 h 2190"/>
                <a:gd name="T2" fmla="*/ 961 w 1115"/>
                <a:gd name="T3" fmla="*/ 174 h 2190"/>
                <a:gd name="T4" fmla="*/ 902 w 1115"/>
                <a:gd name="T5" fmla="*/ 150 h 2190"/>
                <a:gd name="T6" fmla="*/ 877 w 1115"/>
                <a:gd name="T7" fmla="*/ 134 h 2190"/>
                <a:gd name="T8" fmla="*/ 902 w 1115"/>
                <a:gd name="T9" fmla="*/ 54 h 2190"/>
                <a:gd name="T10" fmla="*/ 801 w 1115"/>
                <a:gd name="T11" fmla="*/ 14 h 2190"/>
                <a:gd name="T12" fmla="*/ 742 w 1115"/>
                <a:gd name="T13" fmla="*/ 54 h 2190"/>
                <a:gd name="T14" fmla="*/ 818 w 1115"/>
                <a:gd name="T15" fmla="*/ 190 h 2190"/>
                <a:gd name="T16" fmla="*/ 902 w 1115"/>
                <a:gd name="T17" fmla="*/ 254 h 2190"/>
                <a:gd name="T18" fmla="*/ 801 w 1115"/>
                <a:gd name="T19" fmla="*/ 302 h 2190"/>
                <a:gd name="T20" fmla="*/ 776 w 1115"/>
                <a:gd name="T21" fmla="*/ 350 h 2190"/>
                <a:gd name="T22" fmla="*/ 717 w 1115"/>
                <a:gd name="T23" fmla="*/ 470 h 2190"/>
                <a:gd name="T24" fmla="*/ 750 w 1115"/>
                <a:gd name="T25" fmla="*/ 574 h 2190"/>
                <a:gd name="T26" fmla="*/ 582 w 1115"/>
                <a:gd name="T27" fmla="*/ 574 h 2190"/>
                <a:gd name="T28" fmla="*/ 658 w 1115"/>
                <a:gd name="T29" fmla="*/ 638 h 2190"/>
                <a:gd name="T30" fmla="*/ 700 w 1115"/>
                <a:gd name="T31" fmla="*/ 670 h 2190"/>
                <a:gd name="T32" fmla="*/ 649 w 1115"/>
                <a:gd name="T33" fmla="*/ 702 h 2190"/>
                <a:gd name="T34" fmla="*/ 523 w 1115"/>
                <a:gd name="T35" fmla="*/ 670 h 2190"/>
                <a:gd name="T36" fmla="*/ 438 w 1115"/>
                <a:gd name="T37" fmla="*/ 542 h 2190"/>
                <a:gd name="T38" fmla="*/ 380 w 1115"/>
                <a:gd name="T39" fmla="*/ 486 h 2190"/>
                <a:gd name="T40" fmla="*/ 287 w 1115"/>
                <a:gd name="T41" fmla="*/ 414 h 2190"/>
                <a:gd name="T42" fmla="*/ 565 w 1115"/>
                <a:gd name="T43" fmla="*/ 438 h 2190"/>
                <a:gd name="T44" fmla="*/ 683 w 1115"/>
                <a:gd name="T45" fmla="*/ 374 h 2190"/>
                <a:gd name="T46" fmla="*/ 708 w 1115"/>
                <a:gd name="T47" fmla="*/ 246 h 2190"/>
                <a:gd name="T48" fmla="*/ 447 w 1115"/>
                <a:gd name="T49" fmla="*/ 142 h 2190"/>
                <a:gd name="T50" fmla="*/ 152 w 1115"/>
                <a:gd name="T51" fmla="*/ 118 h 2190"/>
                <a:gd name="T52" fmla="*/ 169 w 1115"/>
                <a:gd name="T53" fmla="*/ 78 h 2190"/>
                <a:gd name="T54" fmla="*/ 76 w 1115"/>
                <a:gd name="T55" fmla="*/ 110 h 2190"/>
                <a:gd name="T56" fmla="*/ 9 w 1115"/>
                <a:gd name="T57" fmla="*/ 214 h 2190"/>
                <a:gd name="T58" fmla="*/ 68 w 1115"/>
                <a:gd name="T59" fmla="*/ 342 h 2190"/>
                <a:gd name="T60" fmla="*/ 144 w 1115"/>
                <a:gd name="T61" fmla="*/ 534 h 2190"/>
                <a:gd name="T62" fmla="*/ 177 w 1115"/>
                <a:gd name="T63" fmla="*/ 702 h 2190"/>
                <a:gd name="T64" fmla="*/ 270 w 1115"/>
                <a:gd name="T65" fmla="*/ 846 h 2190"/>
                <a:gd name="T66" fmla="*/ 380 w 1115"/>
                <a:gd name="T67" fmla="*/ 998 h 2190"/>
                <a:gd name="T68" fmla="*/ 262 w 1115"/>
                <a:gd name="T69" fmla="*/ 1238 h 2190"/>
                <a:gd name="T70" fmla="*/ 346 w 1115"/>
                <a:gd name="T71" fmla="*/ 1270 h 2190"/>
                <a:gd name="T72" fmla="*/ 388 w 1115"/>
                <a:gd name="T73" fmla="*/ 1294 h 2190"/>
                <a:gd name="T74" fmla="*/ 337 w 1115"/>
                <a:gd name="T75" fmla="*/ 1326 h 2190"/>
                <a:gd name="T76" fmla="*/ 287 w 1115"/>
                <a:gd name="T77" fmla="*/ 1382 h 2190"/>
                <a:gd name="T78" fmla="*/ 287 w 1115"/>
                <a:gd name="T79" fmla="*/ 1446 h 2190"/>
                <a:gd name="T80" fmla="*/ 312 w 1115"/>
                <a:gd name="T81" fmla="*/ 1622 h 2190"/>
                <a:gd name="T82" fmla="*/ 388 w 1115"/>
                <a:gd name="T83" fmla="*/ 1702 h 2190"/>
                <a:gd name="T84" fmla="*/ 438 w 1115"/>
                <a:gd name="T85" fmla="*/ 1758 h 2190"/>
                <a:gd name="T86" fmla="*/ 514 w 1115"/>
                <a:gd name="T87" fmla="*/ 1774 h 2190"/>
                <a:gd name="T88" fmla="*/ 607 w 1115"/>
                <a:gd name="T89" fmla="*/ 1774 h 2190"/>
                <a:gd name="T90" fmla="*/ 649 w 1115"/>
                <a:gd name="T91" fmla="*/ 1862 h 2190"/>
                <a:gd name="T92" fmla="*/ 717 w 1115"/>
                <a:gd name="T93" fmla="*/ 1918 h 2190"/>
                <a:gd name="T94" fmla="*/ 835 w 1115"/>
                <a:gd name="T95" fmla="*/ 1966 h 2190"/>
                <a:gd name="T96" fmla="*/ 826 w 1115"/>
                <a:gd name="T97" fmla="*/ 2030 h 2190"/>
                <a:gd name="T98" fmla="*/ 792 w 1115"/>
                <a:gd name="T99" fmla="*/ 2078 h 2190"/>
                <a:gd name="T100" fmla="*/ 835 w 1115"/>
                <a:gd name="T101" fmla="*/ 2158 h 2190"/>
                <a:gd name="T102" fmla="*/ 877 w 1115"/>
                <a:gd name="T103" fmla="*/ 2118 h 2190"/>
                <a:gd name="T104" fmla="*/ 1011 w 1115"/>
                <a:gd name="T105" fmla="*/ 2102 h 2190"/>
                <a:gd name="T106" fmla="*/ 1054 w 1115"/>
                <a:gd name="T107" fmla="*/ 2182 h 2190"/>
                <a:gd name="T108" fmla="*/ 1115 w 1115"/>
                <a:gd name="T109" fmla="*/ 0 h 219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15" h="2190">
                  <a:moveTo>
                    <a:pt x="1011" y="0"/>
                  </a:moveTo>
                  <a:lnTo>
                    <a:pt x="995" y="54"/>
                  </a:lnTo>
                  <a:lnTo>
                    <a:pt x="1011" y="102"/>
                  </a:lnTo>
                  <a:lnTo>
                    <a:pt x="1011" y="126"/>
                  </a:lnTo>
                  <a:lnTo>
                    <a:pt x="1003" y="150"/>
                  </a:lnTo>
                  <a:lnTo>
                    <a:pt x="961" y="174"/>
                  </a:lnTo>
                  <a:lnTo>
                    <a:pt x="936" y="174"/>
                  </a:lnTo>
                  <a:lnTo>
                    <a:pt x="919" y="158"/>
                  </a:lnTo>
                  <a:lnTo>
                    <a:pt x="902" y="150"/>
                  </a:lnTo>
                  <a:lnTo>
                    <a:pt x="893" y="158"/>
                  </a:lnTo>
                  <a:lnTo>
                    <a:pt x="877" y="158"/>
                  </a:lnTo>
                  <a:lnTo>
                    <a:pt x="877" y="134"/>
                  </a:lnTo>
                  <a:lnTo>
                    <a:pt x="877" y="102"/>
                  </a:lnTo>
                  <a:lnTo>
                    <a:pt x="893" y="78"/>
                  </a:lnTo>
                  <a:lnTo>
                    <a:pt x="902" y="54"/>
                  </a:lnTo>
                  <a:lnTo>
                    <a:pt x="893" y="38"/>
                  </a:lnTo>
                  <a:lnTo>
                    <a:pt x="851" y="6"/>
                  </a:lnTo>
                  <a:lnTo>
                    <a:pt x="801" y="14"/>
                  </a:lnTo>
                  <a:lnTo>
                    <a:pt x="750" y="30"/>
                  </a:lnTo>
                  <a:lnTo>
                    <a:pt x="700" y="38"/>
                  </a:lnTo>
                  <a:lnTo>
                    <a:pt x="742" y="54"/>
                  </a:lnTo>
                  <a:lnTo>
                    <a:pt x="784" y="78"/>
                  </a:lnTo>
                  <a:lnTo>
                    <a:pt x="809" y="166"/>
                  </a:lnTo>
                  <a:lnTo>
                    <a:pt x="818" y="190"/>
                  </a:lnTo>
                  <a:lnTo>
                    <a:pt x="843" y="190"/>
                  </a:lnTo>
                  <a:lnTo>
                    <a:pt x="877" y="214"/>
                  </a:lnTo>
                  <a:lnTo>
                    <a:pt x="902" y="254"/>
                  </a:lnTo>
                  <a:lnTo>
                    <a:pt x="910" y="302"/>
                  </a:lnTo>
                  <a:lnTo>
                    <a:pt x="851" y="294"/>
                  </a:lnTo>
                  <a:lnTo>
                    <a:pt x="801" y="302"/>
                  </a:lnTo>
                  <a:lnTo>
                    <a:pt x="784" y="310"/>
                  </a:lnTo>
                  <a:lnTo>
                    <a:pt x="784" y="318"/>
                  </a:lnTo>
                  <a:lnTo>
                    <a:pt x="776" y="350"/>
                  </a:lnTo>
                  <a:lnTo>
                    <a:pt x="750" y="390"/>
                  </a:lnTo>
                  <a:lnTo>
                    <a:pt x="725" y="438"/>
                  </a:lnTo>
                  <a:lnTo>
                    <a:pt x="717" y="470"/>
                  </a:lnTo>
                  <a:lnTo>
                    <a:pt x="733" y="486"/>
                  </a:lnTo>
                  <a:lnTo>
                    <a:pt x="818" y="550"/>
                  </a:lnTo>
                  <a:lnTo>
                    <a:pt x="750" y="574"/>
                  </a:lnTo>
                  <a:lnTo>
                    <a:pt x="666" y="574"/>
                  </a:lnTo>
                  <a:lnTo>
                    <a:pt x="599" y="558"/>
                  </a:lnTo>
                  <a:lnTo>
                    <a:pt x="582" y="574"/>
                  </a:lnTo>
                  <a:lnTo>
                    <a:pt x="573" y="598"/>
                  </a:lnTo>
                  <a:lnTo>
                    <a:pt x="607" y="630"/>
                  </a:lnTo>
                  <a:lnTo>
                    <a:pt x="658" y="638"/>
                  </a:lnTo>
                  <a:lnTo>
                    <a:pt x="683" y="638"/>
                  </a:lnTo>
                  <a:lnTo>
                    <a:pt x="700" y="654"/>
                  </a:lnTo>
                  <a:lnTo>
                    <a:pt x="700" y="670"/>
                  </a:lnTo>
                  <a:lnTo>
                    <a:pt x="683" y="694"/>
                  </a:lnTo>
                  <a:lnTo>
                    <a:pt x="674" y="702"/>
                  </a:lnTo>
                  <a:lnTo>
                    <a:pt x="649" y="702"/>
                  </a:lnTo>
                  <a:lnTo>
                    <a:pt x="599" y="686"/>
                  </a:lnTo>
                  <a:lnTo>
                    <a:pt x="548" y="678"/>
                  </a:lnTo>
                  <a:lnTo>
                    <a:pt x="523" y="670"/>
                  </a:lnTo>
                  <a:lnTo>
                    <a:pt x="506" y="654"/>
                  </a:lnTo>
                  <a:lnTo>
                    <a:pt x="447" y="582"/>
                  </a:lnTo>
                  <a:lnTo>
                    <a:pt x="438" y="542"/>
                  </a:lnTo>
                  <a:lnTo>
                    <a:pt x="438" y="526"/>
                  </a:lnTo>
                  <a:lnTo>
                    <a:pt x="430" y="502"/>
                  </a:lnTo>
                  <a:lnTo>
                    <a:pt x="380" y="486"/>
                  </a:lnTo>
                  <a:lnTo>
                    <a:pt x="337" y="470"/>
                  </a:lnTo>
                  <a:lnTo>
                    <a:pt x="253" y="414"/>
                  </a:lnTo>
                  <a:lnTo>
                    <a:pt x="287" y="414"/>
                  </a:lnTo>
                  <a:lnTo>
                    <a:pt x="321" y="430"/>
                  </a:lnTo>
                  <a:lnTo>
                    <a:pt x="396" y="430"/>
                  </a:lnTo>
                  <a:lnTo>
                    <a:pt x="565" y="438"/>
                  </a:lnTo>
                  <a:lnTo>
                    <a:pt x="624" y="422"/>
                  </a:lnTo>
                  <a:lnTo>
                    <a:pt x="658" y="406"/>
                  </a:lnTo>
                  <a:lnTo>
                    <a:pt x="683" y="374"/>
                  </a:lnTo>
                  <a:lnTo>
                    <a:pt x="708" y="310"/>
                  </a:lnTo>
                  <a:lnTo>
                    <a:pt x="717" y="278"/>
                  </a:lnTo>
                  <a:lnTo>
                    <a:pt x="708" y="246"/>
                  </a:lnTo>
                  <a:lnTo>
                    <a:pt x="666" y="198"/>
                  </a:lnTo>
                  <a:lnTo>
                    <a:pt x="599" y="182"/>
                  </a:lnTo>
                  <a:lnTo>
                    <a:pt x="447" y="142"/>
                  </a:lnTo>
                  <a:lnTo>
                    <a:pt x="371" y="118"/>
                  </a:lnTo>
                  <a:lnTo>
                    <a:pt x="304" y="118"/>
                  </a:lnTo>
                  <a:lnTo>
                    <a:pt x="152" y="118"/>
                  </a:lnTo>
                  <a:lnTo>
                    <a:pt x="177" y="94"/>
                  </a:lnTo>
                  <a:lnTo>
                    <a:pt x="186" y="86"/>
                  </a:lnTo>
                  <a:lnTo>
                    <a:pt x="169" y="78"/>
                  </a:lnTo>
                  <a:lnTo>
                    <a:pt x="127" y="70"/>
                  </a:lnTo>
                  <a:lnTo>
                    <a:pt x="110" y="102"/>
                  </a:lnTo>
                  <a:lnTo>
                    <a:pt x="76" y="110"/>
                  </a:lnTo>
                  <a:lnTo>
                    <a:pt x="76" y="134"/>
                  </a:lnTo>
                  <a:lnTo>
                    <a:pt x="42" y="166"/>
                  </a:lnTo>
                  <a:lnTo>
                    <a:pt x="9" y="214"/>
                  </a:lnTo>
                  <a:lnTo>
                    <a:pt x="0" y="262"/>
                  </a:lnTo>
                  <a:lnTo>
                    <a:pt x="26" y="326"/>
                  </a:lnTo>
                  <a:lnTo>
                    <a:pt x="68" y="342"/>
                  </a:lnTo>
                  <a:lnTo>
                    <a:pt x="110" y="382"/>
                  </a:lnTo>
                  <a:lnTo>
                    <a:pt x="93" y="438"/>
                  </a:lnTo>
                  <a:lnTo>
                    <a:pt x="144" y="534"/>
                  </a:lnTo>
                  <a:lnTo>
                    <a:pt x="211" y="598"/>
                  </a:lnTo>
                  <a:lnTo>
                    <a:pt x="169" y="646"/>
                  </a:lnTo>
                  <a:lnTo>
                    <a:pt x="177" y="702"/>
                  </a:lnTo>
                  <a:lnTo>
                    <a:pt x="245" y="742"/>
                  </a:lnTo>
                  <a:lnTo>
                    <a:pt x="287" y="798"/>
                  </a:lnTo>
                  <a:lnTo>
                    <a:pt x="270" y="846"/>
                  </a:lnTo>
                  <a:lnTo>
                    <a:pt x="337" y="886"/>
                  </a:lnTo>
                  <a:lnTo>
                    <a:pt x="388" y="934"/>
                  </a:lnTo>
                  <a:lnTo>
                    <a:pt x="380" y="998"/>
                  </a:lnTo>
                  <a:lnTo>
                    <a:pt x="337" y="1070"/>
                  </a:lnTo>
                  <a:lnTo>
                    <a:pt x="287" y="1142"/>
                  </a:lnTo>
                  <a:lnTo>
                    <a:pt x="262" y="1238"/>
                  </a:lnTo>
                  <a:lnTo>
                    <a:pt x="278" y="1222"/>
                  </a:lnTo>
                  <a:lnTo>
                    <a:pt x="304" y="1254"/>
                  </a:lnTo>
                  <a:lnTo>
                    <a:pt x="346" y="1270"/>
                  </a:lnTo>
                  <a:lnTo>
                    <a:pt x="396" y="1278"/>
                  </a:lnTo>
                  <a:lnTo>
                    <a:pt x="396" y="1286"/>
                  </a:lnTo>
                  <a:lnTo>
                    <a:pt x="388" y="1294"/>
                  </a:lnTo>
                  <a:lnTo>
                    <a:pt x="363" y="1302"/>
                  </a:lnTo>
                  <a:lnTo>
                    <a:pt x="346" y="1302"/>
                  </a:lnTo>
                  <a:lnTo>
                    <a:pt x="337" y="1326"/>
                  </a:lnTo>
                  <a:lnTo>
                    <a:pt x="287" y="1334"/>
                  </a:lnTo>
                  <a:lnTo>
                    <a:pt x="287" y="1358"/>
                  </a:lnTo>
                  <a:lnTo>
                    <a:pt x="287" y="1382"/>
                  </a:lnTo>
                  <a:lnTo>
                    <a:pt x="278" y="1382"/>
                  </a:lnTo>
                  <a:lnTo>
                    <a:pt x="287" y="1398"/>
                  </a:lnTo>
                  <a:lnTo>
                    <a:pt x="287" y="1446"/>
                  </a:lnTo>
                  <a:lnTo>
                    <a:pt x="287" y="1510"/>
                  </a:lnTo>
                  <a:lnTo>
                    <a:pt x="329" y="1558"/>
                  </a:lnTo>
                  <a:lnTo>
                    <a:pt x="312" y="1622"/>
                  </a:lnTo>
                  <a:lnTo>
                    <a:pt x="346" y="1630"/>
                  </a:lnTo>
                  <a:lnTo>
                    <a:pt x="354" y="1670"/>
                  </a:lnTo>
                  <a:lnTo>
                    <a:pt x="388" y="1702"/>
                  </a:lnTo>
                  <a:lnTo>
                    <a:pt x="413" y="1766"/>
                  </a:lnTo>
                  <a:lnTo>
                    <a:pt x="413" y="1758"/>
                  </a:lnTo>
                  <a:lnTo>
                    <a:pt x="438" y="1758"/>
                  </a:lnTo>
                  <a:lnTo>
                    <a:pt x="464" y="1774"/>
                  </a:lnTo>
                  <a:lnTo>
                    <a:pt x="481" y="1766"/>
                  </a:lnTo>
                  <a:lnTo>
                    <a:pt x="514" y="1774"/>
                  </a:lnTo>
                  <a:lnTo>
                    <a:pt x="531" y="1790"/>
                  </a:lnTo>
                  <a:lnTo>
                    <a:pt x="573" y="1766"/>
                  </a:lnTo>
                  <a:lnTo>
                    <a:pt x="607" y="1774"/>
                  </a:lnTo>
                  <a:lnTo>
                    <a:pt x="641" y="1798"/>
                  </a:lnTo>
                  <a:lnTo>
                    <a:pt x="649" y="1830"/>
                  </a:lnTo>
                  <a:lnTo>
                    <a:pt x="649" y="1862"/>
                  </a:lnTo>
                  <a:lnTo>
                    <a:pt x="683" y="1878"/>
                  </a:lnTo>
                  <a:lnTo>
                    <a:pt x="683" y="1894"/>
                  </a:lnTo>
                  <a:lnTo>
                    <a:pt x="717" y="1918"/>
                  </a:lnTo>
                  <a:lnTo>
                    <a:pt x="759" y="1926"/>
                  </a:lnTo>
                  <a:lnTo>
                    <a:pt x="767" y="1950"/>
                  </a:lnTo>
                  <a:lnTo>
                    <a:pt x="835" y="1966"/>
                  </a:lnTo>
                  <a:lnTo>
                    <a:pt x="860" y="1990"/>
                  </a:lnTo>
                  <a:lnTo>
                    <a:pt x="843" y="2014"/>
                  </a:lnTo>
                  <a:lnTo>
                    <a:pt x="826" y="2030"/>
                  </a:lnTo>
                  <a:lnTo>
                    <a:pt x="776" y="2038"/>
                  </a:lnTo>
                  <a:lnTo>
                    <a:pt x="767" y="2062"/>
                  </a:lnTo>
                  <a:lnTo>
                    <a:pt x="792" y="2078"/>
                  </a:lnTo>
                  <a:lnTo>
                    <a:pt x="792" y="2102"/>
                  </a:lnTo>
                  <a:lnTo>
                    <a:pt x="809" y="2126"/>
                  </a:lnTo>
                  <a:lnTo>
                    <a:pt x="835" y="2158"/>
                  </a:lnTo>
                  <a:lnTo>
                    <a:pt x="868" y="2158"/>
                  </a:lnTo>
                  <a:lnTo>
                    <a:pt x="877" y="2118"/>
                  </a:lnTo>
                  <a:lnTo>
                    <a:pt x="910" y="2118"/>
                  </a:lnTo>
                  <a:lnTo>
                    <a:pt x="969" y="2086"/>
                  </a:lnTo>
                  <a:lnTo>
                    <a:pt x="1011" y="2102"/>
                  </a:lnTo>
                  <a:lnTo>
                    <a:pt x="1054" y="2126"/>
                  </a:lnTo>
                  <a:lnTo>
                    <a:pt x="1037" y="2142"/>
                  </a:lnTo>
                  <a:lnTo>
                    <a:pt x="1054" y="2182"/>
                  </a:lnTo>
                  <a:lnTo>
                    <a:pt x="1079" y="2190"/>
                  </a:lnTo>
                  <a:lnTo>
                    <a:pt x="1113" y="2190"/>
                  </a:lnTo>
                  <a:lnTo>
                    <a:pt x="1115" y="0"/>
                  </a:lnTo>
                  <a:lnTo>
                    <a:pt x="101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46" name="Freeform 100"/>
            <p:cNvSpPr>
              <a:spLocks/>
            </p:cNvSpPr>
            <p:nvPr/>
          </p:nvSpPr>
          <p:spPr bwMode="auto">
            <a:xfrm>
              <a:off x="4274" y="136"/>
              <a:ext cx="801" cy="1272"/>
            </a:xfrm>
            <a:custGeom>
              <a:avLst/>
              <a:gdLst>
                <a:gd name="T0" fmla="*/ 683 w 801"/>
                <a:gd name="T1" fmla="*/ 720 h 1272"/>
                <a:gd name="T2" fmla="*/ 658 w 801"/>
                <a:gd name="T3" fmla="*/ 616 h 1272"/>
                <a:gd name="T4" fmla="*/ 582 w 801"/>
                <a:gd name="T5" fmla="*/ 520 h 1272"/>
                <a:gd name="T6" fmla="*/ 557 w 801"/>
                <a:gd name="T7" fmla="*/ 408 h 1272"/>
                <a:gd name="T8" fmla="*/ 523 w 801"/>
                <a:gd name="T9" fmla="*/ 256 h 1272"/>
                <a:gd name="T10" fmla="*/ 439 w 801"/>
                <a:gd name="T11" fmla="*/ 200 h 1272"/>
                <a:gd name="T12" fmla="*/ 422 w 801"/>
                <a:gd name="T13" fmla="*/ 88 h 1272"/>
                <a:gd name="T14" fmla="*/ 413 w 801"/>
                <a:gd name="T15" fmla="*/ 32 h 1272"/>
                <a:gd name="T16" fmla="*/ 295 w 801"/>
                <a:gd name="T17" fmla="*/ 0 h 1272"/>
                <a:gd name="T18" fmla="*/ 262 w 801"/>
                <a:gd name="T19" fmla="*/ 112 h 1272"/>
                <a:gd name="T20" fmla="*/ 186 w 801"/>
                <a:gd name="T21" fmla="*/ 168 h 1272"/>
                <a:gd name="T22" fmla="*/ 43 w 801"/>
                <a:gd name="T23" fmla="*/ 136 h 1272"/>
                <a:gd name="T24" fmla="*/ 51 w 801"/>
                <a:gd name="T25" fmla="*/ 216 h 1272"/>
                <a:gd name="T26" fmla="*/ 177 w 801"/>
                <a:gd name="T27" fmla="*/ 296 h 1272"/>
                <a:gd name="T28" fmla="*/ 220 w 801"/>
                <a:gd name="T29" fmla="*/ 368 h 1272"/>
                <a:gd name="T30" fmla="*/ 228 w 801"/>
                <a:gd name="T31" fmla="*/ 464 h 1272"/>
                <a:gd name="T32" fmla="*/ 262 w 801"/>
                <a:gd name="T33" fmla="*/ 552 h 1272"/>
                <a:gd name="T34" fmla="*/ 329 w 801"/>
                <a:gd name="T35" fmla="*/ 576 h 1272"/>
                <a:gd name="T36" fmla="*/ 354 w 801"/>
                <a:gd name="T37" fmla="*/ 600 h 1272"/>
                <a:gd name="T38" fmla="*/ 354 w 801"/>
                <a:gd name="T39" fmla="*/ 632 h 1272"/>
                <a:gd name="T40" fmla="*/ 236 w 801"/>
                <a:gd name="T41" fmla="*/ 832 h 1272"/>
                <a:gd name="T42" fmla="*/ 177 w 801"/>
                <a:gd name="T43" fmla="*/ 896 h 1272"/>
                <a:gd name="T44" fmla="*/ 186 w 801"/>
                <a:gd name="T45" fmla="*/ 976 h 1272"/>
                <a:gd name="T46" fmla="*/ 228 w 801"/>
                <a:gd name="T47" fmla="*/ 1080 h 1272"/>
                <a:gd name="T48" fmla="*/ 236 w 801"/>
                <a:gd name="T49" fmla="*/ 1160 h 1272"/>
                <a:gd name="T50" fmla="*/ 287 w 801"/>
                <a:gd name="T51" fmla="*/ 1208 h 1272"/>
                <a:gd name="T52" fmla="*/ 312 w 801"/>
                <a:gd name="T53" fmla="*/ 1272 h 1272"/>
                <a:gd name="T54" fmla="*/ 380 w 801"/>
                <a:gd name="T55" fmla="*/ 1264 h 1272"/>
                <a:gd name="T56" fmla="*/ 506 w 801"/>
                <a:gd name="T57" fmla="*/ 1192 h 1272"/>
                <a:gd name="T58" fmla="*/ 675 w 801"/>
                <a:gd name="T59" fmla="*/ 1112 h 1272"/>
                <a:gd name="T60" fmla="*/ 750 w 801"/>
                <a:gd name="T61" fmla="*/ 944 h 1272"/>
                <a:gd name="T62" fmla="*/ 801 w 801"/>
                <a:gd name="T63" fmla="*/ 808 h 127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801" h="1272">
                  <a:moveTo>
                    <a:pt x="750" y="760"/>
                  </a:moveTo>
                  <a:lnTo>
                    <a:pt x="683" y="720"/>
                  </a:lnTo>
                  <a:lnTo>
                    <a:pt x="700" y="672"/>
                  </a:lnTo>
                  <a:lnTo>
                    <a:pt x="658" y="616"/>
                  </a:lnTo>
                  <a:lnTo>
                    <a:pt x="590" y="576"/>
                  </a:lnTo>
                  <a:lnTo>
                    <a:pt x="582" y="520"/>
                  </a:lnTo>
                  <a:lnTo>
                    <a:pt x="624" y="472"/>
                  </a:lnTo>
                  <a:lnTo>
                    <a:pt x="557" y="408"/>
                  </a:lnTo>
                  <a:lnTo>
                    <a:pt x="506" y="312"/>
                  </a:lnTo>
                  <a:lnTo>
                    <a:pt x="523" y="256"/>
                  </a:lnTo>
                  <a:lnTo>
                    <a:pt x="481" y="216"/>
                  </a:lnTo>
                  <a:lnTo>
                    <a:pt x="439" y="200"/>
                  </a:lnTo>
                  <a:lnTo>
                    <a:pt x="413" y="136"/>
                  </a:lnTo>
                  <a:lnTo>
                    <a:pt x="422" y="88"/>
                  </a:lnTo>
                  <a:lnTo>
                    <a:pt x="430" y="72"/>
                  </a:lnTo>
                  <a:lnTo>
                    <a:pt x="413" y="32"/>
                  </a:lnTo>
                  <a:lnTo>
                    <a:pt x="346" y="0"/>
                  </a:lnTo>
                  <a:lnTo>
                    <a:pt x="295" y="0"/>
                  </a:lnTo>
                  <a:lnTo>
                    <a:pt x="262" y="40"/>
                  </a:lnTo>
                  <a:lnTo>
                    <a:pt x="262" y="112"/>
                  </a:lnTo>
                  <a:lnTo>
                    <a:pt x="245" y="184"/>
                  </a:lnTo>
                  <a:lnTo>
                    <a:pt x="186" y="168"/>
                  </a:lnTo>
                  <a:lnTo>
                    <a:pt x="144" y="184"/>
                  </a:lnTo>
                  <a:lnTo>
                    <a:pt x="43" y="136"/>
                  </a:lnTo>
                  <a:lnTo>
                    <a:pt x="0" y="160"/>
                  </a:lnTo>
                  <a:lnTo>
                    <a:pt x="51" y="216"/>
                  </a:lnTo>
                  <a:lnTo>
                    <a:pt x="144" y="256"/>
                  </a:lnTo>
                  <a:lnTo>
                    <a:pt x="177" y="296"/>
                  </a:lnTo>
                  <a:lnTo>
                    <a:pt x="177" y="336"/>
                  </a:lnTo>
                  <a:lnTo>
                    <a:pt x="220" y="368"/>
                  </a:lnTo>
                  <a:lnTo>
                    <a:pt x="220" y="416"/>
                  </a:lnTo>
                  <a:lnTo>
                    <a:pt x="228" y="464"/>
                  </a:lnTo>
                  <a:lnTo>
                    <a:pt x="245" y="504"/>
                  </a:lnTo>
                  <a:lnTo>
                    <a:pt x="262" y="552"/>
                  </a:lnTo>
                  <a:lnTo>
                    <a:pt x="295" y="560"/>
                  </a:lnTo>
                  <a:lnTo>
                    <a:pt x="329" y="576"/>
                  </a:lnTo>
                  <a:lnTo>
                    <a:pt x="354" y="584"/>
                  </a:lnTo>
                  <a:lnTo>
                    <a:pt x="354" y="600"/>
                  </a:lnTo>
                  <a:lnTo>
                    <a:pt x="363" y="616"/>
                  </a:lnTo>
                  <a:lnTo>
                    <a:pt x="354" y="632"/>
                  </a:lnTo>
                  <a:lnTo>
                    <a:pt x="321" y="696"/>
                  </a:lnTo>
                  <a:lnTo>
                    <a:pt x="236" y="832"/>
                  </a:lnTo>
                  <a:lnTo>
                    <a:pt x="203" y="864"/>
                  </a:lnTo>
                  <a:lnTo>
                    <a:pt x="177" y="896"/>
                  </a:lnTo>
                  <a:lnTo>
                    <a:pt x="177" y="936"/>
                  </a:lnTo>
                  <a:lnTo>
                    <a:pt x="186" y="976"/>
                  </a:lnTo>
                  <a:lnTo>
                    <a:pt x="211" y="1048"/>
                  </a:lnTo>
                  <a:lnTo>
                    <a:pt x="228" y="1080"/>
                  </a:lnTo>
                  <a:lnTo>
                    <a:pt x="228" y="1120"/>
                  </a:lnTo>
                  <a:lnTo>
                    <a:pt x="236" y="1160"/>
                  </a:lnTo>
                  <a:lnTo>
                    <a:pt x="253" y="1192"/>
                  </a:lnTo>
                  <a:lnTo>
                    <a:pt x="287" y="1208"/>
                  </a:lnTo>
                  <a:lnTo>
                    <a:pt x="321" y="1224"/>
                  </a:lnTo>
                  <a:lnTo>
                    <a:pt x="312" y="1272"/>
                  </a:lnTo>
                  <a:lnTo>
                    <a:pt x="363" y="1272"/>
                  </a:lnTo>
                  <a:lnTo>
                    <a:pt x="380" y="1264"/>
                  </a:lnTo>
                  <a:lnTo>
                    <a:pt x="405" y="1248"/>
                  </a:lnTo>
                  <a:lnTo>
                    <a:pt x="506" y="1192"/>
                  </a:lnTo>
                  <a:lnTo>
                    <a:pt x="599" y="1152"/>
                  </a:lnTo>
                  <a:lnTo>
                    <a:pt x="675" y="1112"/>
                  </a:lnTo>
                  <a:lnTo>
                    <a:pt x="700" y="1016"/>
                  </a:lnTo>
                  <a:lnTo>
                    <a:pt x="750" y="944"/>
                  </a:lnTo>
                  <a:lnTo>
                    <a:pt x="793" y="872"/>
                  </a:lnTo>
                  <a:lnTo>
                    <a:pt x="801" y="808"/>
                  </a:lnTo>
                  <a:lnTo>
                    <a:pt x="750" y="7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47" name="Freeform 101"/>
            <p:cNvSpPr>
              <a:spLocks/>
            </p:cNvSpPr>
            <p:nvPr/>
          </p:nvSpPr>
          <p:spPr bwMode="auto">
            <a:xfrm>
              <a:off x="3845" y="312"/>
              <a:ext cx="691" cy="1696"/>
            </a:xfrm>
            <a:custGeom>
              <a:avLst/>
              <a:gdLst>
                <a:gd name="T0" fmla="*/ 354 w 691"/>
                <a:gd name="T1" fmla="*/ 72 h 1696"/>
                <a:gd name="T2" fmla="*/ 295 w 691"/>
                <a:gd name="T3" fmla="*/ 128 h 1696"/>
                <a:gd name="T4" fmla="*/ 261 w 691"/>
                <a:gd name="T5" fmla="*/ 216 h 1696"/>
                <a:gd name="T6" fmla="*/ 210 w 691"/>
                <a:gd name="T7" fmla="*/ 312 h 1696"/>
                <a:gd name="T8" fmla="*/ 168 w 691"/>
                <a:gd name="T9" fmla="*/ 400 h 1696"/>
                <a:gd name="T10" fmla="*/ 118 w 691"/>
                <a:gd name="T11" fmla="*/ 576 h 1696"/>
                <a:gd name="T12" fmla="*/ 143 w 691"/>
                <a:gd name="T13" fmla="*/ 656 h 1696"/>
                <a:gd name="T14" fmla="*/ 33 w 691"/>
                <a:gd name="T15" fmla="*/ 736 h 1696"/>
                <a:gd name="T16" fmla="*/ 50 w 691"/>
                <a:gd name="T17" fmla="*/ 936 h 1696"/>
                <a:gd name="T18" fmla="*/ 92 w 691"/>
                <a:gd name="T19" fmla="*/ 1016 h 1696"/>
                <a:gd name="T20" fmla="*/ 67 w 691"/>
                <a:gd name="T21" fmla="*/ 1144 h 1696"/>
                <a:gd name="T22" fmla="*/ 17 w 691"/>
                <a:gd name="T23" fmla="*/ 1272 h 1696"/>
                <a:gd name="T24" fmla="*/ 8 w 691"/>
                <a:gd name="T25" fmla="*/ 1328 h 1696"/>
                <a:gd name="T26" fmla="*/ 42 w 691"/>
                <a:gd name="T27" fmla="*/ 1376 h 1696"/>
                <a:gd name="T28" fmla="*/ 84 w 691"/>
                <a:gd name="T29" fmla="*/ 1504 h 1696"/>
                <a:gd name="T30" fmla="*/ 118 w 691"/>
                <a:gd name="T31" fmla="*/ 1568 h 1696"/>
                <a:gd name="T32" fmla="*/ 109 w 691"/>
                <a:gd name="T33" fmla="*/ 1616 h 1696"/>
                <a:gd name="T34" fmla="*/ 135 w 691"/>
                <a:gd name="T35" fmla="*/ 1664 h 1696"/>
                <a:gd name="T36" fmla="*/ 202 w 691"/>
                <a:gd name="T37" fmla="*/ 1696 h 1696"/>
                <a:gd name="T38" fmla="*/ 244 w 691"/>
                <a:gd name="T39" fmla="*/ 1648 h 1696"/>
                <a:gd name="T40" fmla="*/ 286 w 691"/>
                <a:gd name="T41" fmla="*/ 1600 h 1696"/>
                <a:gd name="T42" fmla="*/ 387 w 691"/>
                <a:gd name="T43" fmla="*/ 1472 h 1696"/>
                <a:gd name="T44" fmla="*/ 387 w 691"/>
                <a:gd name="T45" fmla="*/ 1408 h 1696"/>
                <a:gd name="T46" fmla="*/ 396 w 691"/>
                <a:gd name="T47" fmla="*/ 1336 h 1696"/>
                <a:gd name="T48" fmla="*/ 421 w 691"/>
                <a:gd name="T49" fmla="*/ 1272 h 1696"/>
                <a:gd name="T50" fmla="*/ 497 w 691"/>
                <a:gd name="T51" fmla="*/ 1224 h 1696"/>
                <a:gd name="T52" fmla="*/ 505 w 691"/>
                <a:gd name="T53" fmla="*/ 1168 h 1696"/>
                <a:gd name="T54" fmla="*/ 480 w 691"/>
                <a:gd name="T55" fmla="*/ 1088 h 1696"/>
                <a:gd name="T56" fmla="*/ 396 w 691"/>
                <a:gd name="T57" fmla="*/ 1040 h 1696"/>
                <a:gd name="T58" fmla="*/ 387 w 691"/>
                <a:gd name="T59" fmla="*/ 984 h 1696"/>
                <a:gd name="T60" fmla="*/ 387 w 691"/>
                <a:gd name="T61" fmla="*/ 832 h 1696"/>
                <a:gd name="T62" fmla="*/ 480 w 691"/>
                <a:gd name="T63" fmla="*/ 704 h 1696"/>
                <a:gd name="T64" fmla="*/ 556 w 691"/>
                <a:gd name="T65" fmla="*/ 624 h 1696"/>
                <a:gd name="T66" fmla="*/ 581 w 691"/>
                <a:gd name="T67" fmla="*/ 560 h 1696"/>
                <a:gd name="T68" fmla="*/ 573 w 691"/>
                <a:gd name="T69" fmla="*/ 496 h 1696"/>
                <a:gd name="T70" fmla="*/ 606 w 691"/>
                <a:gd name="T71" fmla="*/ 424 h 1696"/>
                <a:gd name="T72" fmla="*/ 682 w 691"/>
                <a:gd name="T73" fmla="*/ 376 h 1696"/>
                <a:gd name="T74" fmla="*/ 674 w 691"/>
                <a:gd name="T75" fmla="*/ 328 h 1696"/>
                <a:gd name="T76" fmla="*/ 649 w 691"/>
                <a:gd name="T77" fmla="*/ 240 h 1696"/>
                <a:gd name="T78" fmla="*/ 606 w 691"/>
                <a:gd name="T79" fmla="*/ 160 h 1696"/>
                <a:gd name="T80" fmla="*/ 573 w 691"/>
                <a:gd name="T81" fmla="*/ 80 h 1696"/>
                <a:gd name="T82" fmla="*/ 446 w 691"/>
                <a:gd name="T83" fmla="*/ 0 h 1696"/>
                <a:gd name="T84" fmla="*/ 429 w 691"/>
                <a:gd name="T85" fmla="*/ 88 h 169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691" h="1696">
                  <a:moveTo>
                    <a:pt x="429" y="88"/>
                  </a:moveTo>
                  <a:lnTo>
                    <a:pt x="354" y="72"/>
                  </a:lnTo>
                  <a:lnTo>
                    <a:pt x="337" y="128"/>
                  </a:lnTo>
                  <a:lnTo>
                    <a:pt x="295" y="128"/>
                  </a:lnTo>
                  <a:lnTo>
                    <a:pt x="261" y="168"/>
                  </a:lnTo>
                  <a:lnTo>
                    <a:pt x="261" y="216"/>
                  </a:lnTo>
                  <a:lnTo>
                    <a:pt x="269" y="256"/>
                  </a:lnTo>
                  <a:lnTo>
                    <a:pt x="210" y="312"/>
                  </a:lnTo>
                  <a:lnTo>
                    <a:pt x="210" y="376"/>
                  </a:lnTo>
                  <a:lnTo>
                    <a:pt x="168" y="400"/>
                  </a:lnTo>
                  <a:lnTo>
                    <a:pt x="168" y="496"/>
                  </a:lnTo>
                  <a:lnTo>
                    <a:pt x="118" y="576"/>
                  </a:lnTo>
                  <a:lnTo>
                    <a:pt x="160" y="600"/>
                  </a:lnTo>
                  <a:lnTo>
                    <a:pt x="143" y="656"/>
                  </a:lnTo>
                  <a:lnTo>
                    <a:pt x="67" y="664"/>
                  </a:lnTo>
                  <a:lnTo>
                    <a:pt x="33" y="736"/>
                  </a:lnTo>
                  <a:lnTo>
                    <a:pt x="50" y="856"/>
                  </a:lnTo>
                  <a:lnTo>
                    <a:pt x="50" y="936"/>
                  </a:lnTo>
                  <a:lnTo>
                    <a:pt x="92" y="976"/>
                  </a:lnTo>
                  <a:lnTo>
                    <a:pt x="92" y="1016"/>
                  </a:lnTo>
                  <a:lnTo>
                    <a:pt x="67" y="1056"/>
                  </a:lnTo>
                  <a:lnTo>
                    <a:pt x="67" y="1144"/>
                  </a:lnTo>
                  <a:lnTo>
                    <a:pt x="33" y="1176"/>
                  </a:lnTo>
                  <a:lnTo>
                    <a:pt x="17" y="1272"/>
                  </a:lnTo>
                  <a:lnTo>
                    <a:pt x="0" y="1280"/>
                  </a:lnTo>
                  <a:lnTo>
                    <a:pt x="8" y="1328"/>
                  </a:lnTo>
                  <a:lnTo>
                    <a:pt x="33" y="1352"/>
                  </a:lnTo>
                  <a:lnTo>
                    <a:pt x="42" y="1376"/>
                  </a:lnTo>
                  <a:lnTo>
                    <a:pt x="42" y="1440"/>
                  </a:lnTo>
                  <a:lnTo>
                    <a:pt x="84" y="1504"/>
                  </a:lnTo>
                  <a:lnTo>
                    <a:pt x="109" y="1536"/>
                  </a:lnTo>
                  <a:lnTo>
                    <a:pt x="118" y="1568"/>
                  </a:lnTo>
                  <a:lnTo>
                    <a:pt x="109" y="1592"/>
                  </a:lnTo>
                  <a:lnTo>
                    <a:pt x="109" y="1616"/>
                  </a:lnTo>
                  <a:lnTo>
                    <a:pt x="126" y="1632"/>
                  </a:lnTo>
                  <a:lnTo>
                    <a:pt x="135" y="1664"/>
                  </a:lnTo>
                  <a:lnTo>
                    <a:pt x="135" y="1696"/>
                  </a:lnTo>
                  <a:lnTo>
                    <a:pt x="202" y="1696"/>
                  </a:lnTo>
                  <a:lnTo>
                    <a:pt x="236" y="1680"/>
                  </a:lnTo>
                  <a:lnTo>
                    <a:pt x="244" y="1648"/>
                  </a:lnTo>
                  <a:lnTo>
                    <a:pt x="261" y="1616"/>
                  </a:lnTo>
                  <a:lnTo>
                    <a:pt x="286" y="1600"/>
                  </a:lnTo>
                  <a:lnTo>
                    <a:pt x="354" y="1608"/>
                  </a:lnTo>
                  <a:lnTo>
                    <a:pt x="387" y="1472"/>
                  </a:lnTo>
                  <a:lnTo>
                    <a:pt x="396" y="1440"/>
                  </a:lnTo>
                  <a:lnTo>
                    <a:pt x="387" y="1408"/>
                  </a:lnTo>
                  <a:lnTo>
                    <a:pt x="387" y="1368"/>
                  </a:lnTo>
                  <a:lnTo>
                    <a:pt x="396" y="1336"/>
                  </a:lnTo>
                  <a:lnTo>
                    <a:pt x="404" y="1296"/>
                  </a:lnTo>
                  <a:lnTo>
                    <a:pt x="421" y="1272"/>
                  </a:lnTo>
                  <a:lnTo>
                    <a:pt x="472" y="1240"/>
                  </a:lnTo>
                  <a:lnTo>
                    <a:pt x="497" y="1224"/>
                  </a:lnTo>
                  <a:lnTo>
                    <a:pt x="497" y="1192"/>
                  </a:lnTo>
                  <a:lnTo>
                    <a:pt x="505" y="1168"/>
                  </a:lnTo>
                  <a:lnTo>
                    <a:pt x="522" y="1144"/>
                  </a:lnTo>
                  <a:lnTo>
                    <a:pt x="480" y="1088"/>
                  </a:lnTo>
                  <a:lnTo>
                    <a:pt x="413" y="1048"/>
                  </a:lnTo>
                  <a:lnTo>
                    <a:pt x="396" y="1040"/>
                  </a:lnTo>
                  <a:lnTo>
                    <a:pt x="387" y="1024"/>
                  </a:lnTo>
                  <a:lnTo>
                    <a:pt x="387" y="984"/>
                  </a:lnTo>
                  <a:lnTo>
                    <a:pt x="379" y="904"/>
                  </a:lnTo>
                  <a:lnTo>
                    <a:pt x="387" y="832"/>
                  </a:lnTo>
                  <a:lnTo>
                    <a:pt x="429" y="760"/>
                  </a:lnTo>
                  <a:lnTo>
                    <a:pt x="480" y="704"/>
                  </a:lnTo>
                  <a:lnTo>
                    <a:pt x="539" y="648"/>
                  </a:lnTo>
                  <a:lnTo>
                    <a:pt x="556" y="624"/>
                  </a:lnTo>
                  <a:lnTo>
                    <a:pt x="564" y="584"/>
                  </a:lnTo>
                  <a:lnTo>
                    <a:pt x="581" y="560"/>
                  </a:lnTo>
                  <a:lnTo>
                    <a:pt x="581" y="536"/>
                  </a:lnTo>
                  <a:lnTo>
                    <a:pt x="573" y="496"/>
                  </a:lnTo>
                  <a:lnTo>
                    <a:pt x="581" y="464"/>
                  </a:lnTo>
                  <a:lnTo>
                    <a:pt x="606" y="424"/>
                  </a:lnTo>
                  <a:lnTo>
                    <a:pt x="615" y="384"/>
                  </a:lnTo>
                  <a:lnTo>
                    <a:pt x="682" y="376"/>
                  </a:lnTo>
                  <a:lnTo>
                    <a:pt x="691" y="376"/>
                  </a:lnTo>
                  <a:lnTo>
                    <a:pt x="674" y="328"/>
                  </a:lnTo>
                  <a:lnTo>
                    <a:pt x="657" y="288"/>
                  </a:lnTo>
                  <a:lnTo>
                    <a:pt x="649" y="240"/>
                  </a:lnTo>
                  <a:lnTo>
                    <a:pt x="649" y="192"/>
                  </a:lnTo>
                  <a:lnTo>
                    <a:pt x="606" y="160"/>
                  </a:lnTo>
                  <a:lnTo>
                    <a:pt x="606" y="120"/>
                  </a:lnTo>
                  <a:lnTo>
                    <a:pt x="573" y="80"/>
                  </a:lnTo>
                  <a:lnTo>
                    <a:pt x="480" y="40"/>
                  </a:lnTo>
                  <a:lnTo>
                    <a:pt x="446" y="0"/>
                  </a:lnTo>
                  <a:lnTo>
                    <a:pt x="429" y="8"/>
                  </a:lnTo>
                  <a:lnTo>
                    <a:pt x="429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48" name="Freeform 102"/>
            <p:cNvSpPr>
              <a:spLocks/>
            </p:cNvSpPr>
            <p:nvPr/>
          </p:nvSpPr>
          <p:spPr bwMode="auto">
            <a:xfrm>
              <a:off x="4274" y="128"/>
              <a:ext cx="801" cy="1272"/>
            </a:xfrm>
            <a:custGeom>
              <a:avLst/>
              <a:gdLst>
                <a:gd name="T0" fmla="*/ 683 w 801"/>
                <a:gd name="T1" fmla="*/ 720 h 1272"/>
                <a:gd name="T2" fmla="*/ 658 w 801"/>
                <a:gd name="T3" fmla="*/ 616 h 1272"/>
                <a:gd name="T4" fmla="*/ 582 w 801"/>
                <a:gd name="T5" fmla="*/ 520 h 1272"/>
                <a:gd name="T6" fmla="*/ 557 w 801"/>
                <a:gd name="T7" fmla="*/ 408 h 1272"/>
                <a:gd name="T8" fmla="*/ 523 w 801"/>
                <a:gd name="T9" fmla="*/ 256 h 1272"/>
                <a:gd name="T10" fmla="*/ 439 w 801"/>
                <a:gd name="T11" fmla="*/ 200 h 1272"/>
                <a:gd name="T12" fmla="*/ 422 w 801"/>
                <a:gd name="T13" fmla="*/ 88 h 1272"/>
                <a:gd name="T14" fmla="*/ 413 w 801"/>
                <a:gd name="T15" fmla="*/ 32 h 1272"/>
                <a:gd name="T16" fmla="*/ 295 w 801"/>
                <a:gd name="T17" fmla="*/ 0 h 1272"/>
                <a:gd name="T18" fmla="*/ 262 w 801"/>
                <a:gd name="T19" fmla="*/ 112 h 1272"/>
                <a:gd name="T20" fmla="*/ 186 w 801"/>
                <a:gd name="T21" fmla="*/ 168 h 1272"/>
                <a:gd name="T22" fmla="*/ 43 w 801"/>
                <a:gd name="T23" fmla="*/ 136 h 1272"/>
                <a:gd name="T24" fmla="*/ 51 w 801"/>
                <a:gd name="T25" fmla="*/ 216 h 1272"/>
                <a:gd name="T26" fmla="*/ 177 w 801"/>
                <a:gd name="T27" fmla="*/ 296 h 1272"/>
                <a:gd name="T28" fmla="*/ 220 w 801"/>
                <a:gd name="T29" fmla="*/ 368 h 1272"/>
                <a:gd name="T30" fmla="*/ 228 w 801"/>
                <a:gd name="T31" fmla="*/ 464 h 1272"/>
                <a:gd name="T32" fmla="*/ 262 w 801"/>
                <a:gd name="T33" fmla="*/ 552 h 1272"/>
                <a:gd name="T34" fmla="*/ 329 w 801"/>
                <a:gd name="T35" fmla="*/ 576 h 1272"/>
                <a:gd name="T36" fmla="*/ 354 w 801"/>
                <a:gd name="T37" fmla="*/ 600 h 1272"/>
                <a:gd name="T38" fmla="*/ 354 w 801"/>
                <a:gd name="T39" fmla="*/ 632 h 1272"/>
                <a:gd name="T40" fmla="*/ 236 w 801"/>
                <a:gd name="T41" fmla="*/ 832 h 1272"/>
                <a:gd name="T42" fmla="*/ 177 w 801"/>
                <a:gd name="T43" fmla="*/ 896 h 1272"/>
                <a:gd name="T44" fmla="*/ 186 w 801"/>
                <a:gd name="T45" fmla="*/ 976 h 1272"/>
                <a:gd name="T46" fmla="*/ 228 w 801"/>
                <a:gd name="T47" fmla="*/ 1080 h 1272"/>
                <a:gd name="T48" fmla="*/ 236 w 801"/>
                <a:gd name="T49" fmla="*/ 1160 h 1272"/>
                <a:gd name="T50" fmla="*/ 287 w 801"/>
                <a:gd name="T51" fmla="*/ 1208 h 1272"/>
                <a:gd name="T52" fmla="*/ 312 w 801"/>
                <a:gd name="T53" fmla="*/ 1272 h 1272"/>
                <a:gd name="T54" fmla="*/ 380 w 801"/>
                <a:gd name="T55" fmla="*/ 1264 h 1272"/>
                <a:gd name="T56" fmla="*/ 506 w 801"/>
                <a:gd name="T57" fmla="*/ 1192 h 1272"/>
                <a:gd name="T58" fmla="*/ 675 w 801"/>
                <a:gd name="T59" fmla="*/ 1112 h 1272"/>
                <a:gd name="T60" fmla="*/ 750 w 801"/>
                <a:gd name="T61" fmla="*/ 944 h 1272"/>
                <a:gd name="T62" fmla="*/ 801 w 801"/>
                <a:gd name="T63" fmla="*/ 808 h 127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801" h="1272">
                  <a:moveTo>
                    <a:pt x="750" y="760"/>
                  </a:moveTo>
                  <a:lnTo>
                    <a:pt x="683" y="720"/>
                  </a:lnTo>
                  <a:lnTo>
                    <a:pt x="700" y="672"/>
                  </a:lnTo>
                  <a:lnTo>
                    <a:pt x="658" y="616"/>
                  </a:lnTo>
                  <a:lnTo>
                    <a:pt x="590" y="576"/>
                  </a:lnTo>
                  <a:lnTo>
                    <a:pt x="582" y="520"/>
                  </a:lnTo>
                  <a:lnTo>
                    <a:pt x="624" y="472"/>
                  </a:lnTo>
                  <a:lnTo>
                    <a:pt x="557" y="408"/>
                  </a:lnTo>
                  <a:lnTo>
                    <a:pt x="506" y="312"/>
                  </a:lnTo>
                  <a:lnTo>
                    <a:pt x="523" y="256"/>
                  </a:lnTo>
                  <a:lnTo>
                    <a:pt x="481" y="216"/>
                  </a:lnTo>
                  <a:lnTo>
                    <a:pt x="439" y="200"/>
                  </a:lnTo>
                  <a:lnTo>
                    <a:pt x="413" y="136"/>
                  </a:lnTo>
                  <a:lnTo>
                    <a:pt x="422" y="88"/>
                  </a:lnTo>
                  <a:lnTo>
                    <a:pt x="430" y="72"/>
                  </a:lnTo>
                  <a:lnTo>
                    <a:pt x="413" y="32"/>
                  </a:lnTo>
                  <a:lnTo>
                    <a:pt x="346" y="0"/>
                  </a:lnTo>
                  <a:lnTo>
                    <a:pt x="295" y="0"/>
                  </a:lnTo>
                  <a:lnTo>
                    <a:pt x="262" y="40"/>
                  </a:lnTo>
                  <a:lnTo>
                    <a:pt x="262" y="112"/>
                  </a:lnTo>
                  <a:lnTo>
                    <a:pt x="245" y="184"/>
                  </a:lnTo>
                  <a:lnTo>
                    <a:pt x="186" y="168"/>
                  </a:lnTo>
                  <a:lnTo>
                    <a:pt x="144" y="184"/>
                  </a:lnTo>
                  <a:lnTo>
                    <a:pt x="43" y="136"/>
                  </a:lnTo>
                  <a:lnTo>
                    <a:pt x="0" y="160"/>
                  </a:lnTo>
                  <a:lnTo>
                    <a:pt x="51" y="216"/>
                  </a:lnTo>
                  <a:lnTo>
                    <a:pt x="144" y="256"/>
                  </a:lnTo>
                  <a:lnTo>
                    <a:pt x="177" y="296"/>
                  </a:lnTo>
                  <a:lnTo>
                    <a:pt x="177" y="336"/>
                  </a:lnTo>
                  <a:lnTo>
                    <a:pt x="220" y="368"/>
                  </a:lnTo>
                  <a:lnTo>
                    <a:pt x="220" y="416"/>
                  </a:lnTo>
                  <a:lnTo>
                    <a:pt x="228" y="464"/>
                  </a:lnTo>
                  <a:lnTo>
                    <a:pt x="245" y="504"/>
                  </a:lnTo>
                  <a:lnTo>
                    <a:pt x="262" y="552"/>
                  </a:lnTo>
                  <a:lnTo>
                    <a:pt x="295" y="560"/>
                  </a:lnTo>
                  <a:lnTo>
                    <a:pt x="329" y="576"/>
                  </a:lnTo>
                  <a:lnTo>
                    <a:pt x="354" y="584"/>
                  </a:lnTo>
                  <a:lnTo>
                    <a:pt x="354" y="600"/>
                  </a:lnTo>
                  <a:lnTo>
                    <a:pt x="363" y="616"/>
                  </a:lnTo>
                  <a:lnTo>
                    <a:pt x="354" y="632"/>
                  </a:lnTo>
                  <a:lnTo>
                    <a:pt x="321" y="696"/>
                  </a:lnTo>
                  <a:lnTo>
                    <a:pt x="236" y="832"/>
                  </a:lnTo>
                  <a:lnTo>
                    <a:pt x="203" y="864"/>
                  </a:lnTo>
                  <a:lnTo>
                    <a:pt x="177" y="896"/>
                  </a:lnTo>
                  <a:lnTo>
                    <a:pt x="177" y="936"/>
                  </a:lnTo>
                  <a:lnTo>
                    <a:pt x="186" y="976"/>
                  </a:lnTo>
                  <a:lnTo>
                    <a:pt x="211" y="1048"/>
                  </a:lnTo>
                  <a:lnTo>
                    <a:pt x="228" y="1080"/>
                  </a:lnTo>
                  <a:lnTo>
                    <a:pt x="228" y="1120"/>
                  </a:lnTo>
                  <a:lnTo>
                    <a:pt x="236" y="1160"/>
                  </a:lnTo>
                  <a:lnTo>
                    <a:pt x="253" y="1192"/>
                  </a:lnTo>
                  <a:lnTo>
                    <a:pt x="287" y="1208"/>
                  </a:lnTo>
                  <a:lnTo>
                    <a:pt x="321" y="1224"/>
                  </a:lnTo>
                  <a:lnTo>
                    <a:pt x="312" y="1272"/>
                  </a:lnTo>
                  <a:lnTo>
                    <a:pt x="363" y="1272"/>
                  </a:lnTo>
                  <a:lnTo>
                    <a:pt x="380" y="1264"/>
                  </a:lnTo>
                  <a:lnTo>
                    <a:pt x="405" y="1248"/>
                  </a:lnTo>
                  <a:lnTo>
                    <a:pt x="506" y="1192"/>
                  </a:lnTo>
                  <a:lnTo>
                    <a:pt x="599" y="1152"/>
                  </a:lnTo>
                  <a:lnTo>
                    <a:pt x="675" y="1112"/>
                  </a:lnTo>
                  <a:lnTo>
                    <a:pt x="700" y="1016"/>
                  </a:lnTo>
                  <a:lnTo>
                    <a:pt x="750" y="944"/>
                  </a:lnTo>
                  <a:lnTo>
                    <a:pt x="793" y="872"/>
                  </a:lnTo>
                  <a:lnTo>
                    <a:pt x="801" y="808"/>
                  </a:lnTo>
                  <a:lnTo>
                    <a:pt x="750" y="76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49" name="Freeform 103"/>
            <p:cNvSpPr>
              <a:spLocks/>
            </p:cNvSpPr>
            <p:nvPr/>
          </p:nvSpPr>
          <p:spPr bwMode="auto">
            <a:xfrm>
              <a:off x="3845" y="304"/>
              <a:ext cx="691" cy="1696"/>
            </a:xfrm>
            <a:custGeom>
              <a:avLst/>
              <a:gdLst>
                <a:gd name="T0" fmla="*/ 354 w 691"/>
                <a:gd name="T1" fmla="*/ 72 h 1696"/>
                <a:gd name="T2" fmla="*/ 295 w 691"/>
                <a:gd name="T3" fmla="*/ 128 h 1696"/>
                <a:gd name="T4" fmla="*/ 261 w 691"/>
                <a:gd name="T5" fmla="*/ 216 h 1696"/>
                <a:gd name="T6" fmla="*/ 210 w 691"/>
                <a:gd name="T7" fmla="*/ 312 h 1696"/>
                <a:gd name="T8" fmla="*/ 168 w 691"/>
                <a:gd name="T9" fmla="*/ 400 h 1696"/>
                <a:gd name="T10" fmla="*/ 118 w 691"/>
                <a:gd name="T11" fmla="*/ 576 h 1696"/>
                <a:gd name="T12" fmla="*/ 143 w 691"/>
                <a:gd name="T13" fmla="*/ 656 h 1696"/>
                <a:gd name="T14" fmla="*/ 33 w 691"/>
                <a:gd name="T15" fmla="*/ 736 h 1696"/>
                <a:gd name="T16" fmla="*/ 50 w 691"/>
                <a:gd name="T17" fmla="*/ 936 h 1696"/>
                <a:gd name="T18" fmla="*/ 92 w 691"/>
                <a:gd name="T19" fmla="*/ 1016 h 1696"/>
                <a:gd name="T20" fmla="*/ 67 w 691"/>
                <a:gd name="T21" fmla="*/ 1144 h 1696"/>
                <a:gd name="T22" fmla="*/ 17 w 691"/>
                <a:gd name="T23" fmla="*/ 1272 h 1696"/>
                <a:gd name="T24" fmla="*/ 8 w 691"/>
                <a:gd name="T25" fmla="*/ 1328 h 1696"/>
                <a:gd name="T26" fmla="*/ 42 w 691"/>
                <a:gd name="T27" fmla="*/ 1376 h 1696"/>
                <a:gd name="T28" fmla="*/ 84 w 691"/>
                <a:gd name="T29" fmla="*/ 1504 h 1696"/>
                <a:gd name="T30" fmla="*/ 118 w 691"/>
                <a:gd name="T31" fmla="*/ 1568 h 1696"/>
                <a:gd name="T32" fmla="*/ 109 w 691"/>
                <a:gd name="T33" fmla="*/ 1616 h 1696"/>
                <a:gd name="T34" fmla="*/ 135 w 691"/>
                <a:gd name="T35" fmla="*/ 1664 h 1696"/>
                <a:gd name="T36" fmla="*/ 202 w 691"/>
                <a:gd name="T37" fmla="*/ 1696 h 1696"/>
                <a:gd name="T38" fmla="*/ 244 w 691"/>
                <a:gd name="T39" fmla="*/ 1648 h 1696"/>
                <a:gd name="T40" fmla="*/ 286 w 691"/>
                <a:gd name="T41" fmla="*/ 1600 h 1696"/>
                <a:gd name="T42" fmla="*/ 387 w 691"/>
                <a:gd name="T43" fmla="*/ 1472 h 1696"/>
                <a:gd name="T44" fmla="*/ 387 w 691"/>
                <a:gd name="T45" fmla="*/ 1408 h 1696"/>
                <a:gd name="T46" fmla="*/ 396 w 691"/>
                <a:gd name="T47" fmla="*/ 1336 h 1696"/>
                <a:gd name="T48" fmla="*/ 421 w 691"/>
                <a:gd name="T49" fmla="*/ 1272 h 1696"/>
                <a:gd name="T50" fmla="*/ 497 w 691"/>
                <a:gd name="T51" fmla="*/ 1224 h 1696"/>
                <a:gd name="T52" fmla="*/ 505 w 691"/>
                <a:gd name="T53" fmla="*/ 1168 h 1696"/>
                <a:gd name="T54" fmla="*/ 480 w 691"/>
                <a:gd name="T55" fmla="*/ 1088 h 1696"/>
                <a:gd name="T56" fmla="*/ 396 w 691"/>
                <a:gd name="T57" fmla="*/ 1040 h 1696"/>
                <a:gd name="T58" fmla="*/ 387 w 691"/>
                <a:gd name="T59" fmla="*/ 984 h 1696"/>
                <a:gd name="T60" fmla="*/ 387 w 691"/>
                <a:gd name="T61" fmla="*/ 832 h 1696"/>
                <a:gd name="T62" fmla="*/ 480 w 691"/>
                <a:gd name="T63" fmla="*/ 704 h 1696"/>
                <a:gd name="T64" fmla="*/ 556 w 691"/>
                <a:gd name="T65" fmla="*/ 624 h 1696"/>
                <a:gd name="T66" fmla="*/ 581 w 691"/>
                <a:gd name="T67" fmla="*/ 560 h 1696"/>
                <a:gd name="T68" fmla="*/ 573 w 691"/>
                <a:gd name="T69" fmla="*/ 496 h 1696"/>
                <a:gd name="T70" fmla="*/ 606 w 691"/>
                <a:gd name="T71" fmla="*/ 424 h 1696"/>
                <a:gd name="T72" fmla="*/ 682 w 691"/>
                <a:gd name="T73" fmla="*/ 376 h 1696"/>
                <a:gd name="T74" fmla="*/ 674 w 691"/>
                <a:gd name="T75" fmla="*/ 328 h 1696"/>
                <a:gd name="T76" fmla="*/ 649 w 691"/>
                <a:gd name="T77" fmla="*/ 240 h 1696"/>
                <a:gd name="T78" fmla="*/ 606 w 691"/>
                <a:gd name="T79" fmla="*/ 160 h 1696"/>
                <a:gd name="T80" fmla="*/ 573 w 691"/>
                <a:gd name="T81" fmla="*/ 80 h 1696"/>
                <a:gd name="T82" fmla="*/ 446 w 691"/>
                <a:gd name="T83" fmla="*/ 0 h 1696"/>
                <a:gd name="T84" fmla="*/ 429 w 691"/>
                <a:gd name="T85" fmla="*/ 88 h 169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691" h="1696">
                  <a:moveTo>
                    <a:pt x="429" y="88"/>
                  </a:moveTo>
                  <a:lnTo>
                    <a:pt x="354" y="72"/>
                  </a:lnTo>
                  <a:lnTo>
                    <a:pt x="337" y="128"/>
                  </a:lnTo>
                  <a:lnTo>
                    <a:pt x="295" y="128"/>
                  </a:lnTo>
                  <a:lnTo>
                    <a:pt x="261" y="168"/>
                  </a:lnTo>
                  <a:lnTo>
                    <a:pt x="261" y="216"/>
                  </a:lnTo>
                  <a:lnTo>
                    <a:pt x="269" y="256"/>
                  </a:lnTo>
                  <a:lnTo>
                    <a:pt x="210" y="312"/>
                  </a:lnTo>
                  <a:lnTo>
                    <a:pt x="210" y="376"/>
                  </a:lnTo>
                  <a:lnTo>
                    <a:pt x="168" y="400"/>
                  </a:lnTo>
                  <a:lnTo>
                    <a:pt x="168" y="496"/>
                  </a:lnTo>
                  <a:lnTo>
                    <a:pt x="118" y="576"/>
                  </a:lnTo>
                  <a:lnTo>
                    <a:pt x="160" y="600"/>
                  </a:lnTo>
                  <a:lnTo>
                    <a:pt x="143" y="656"/>
                  </a:lnTo>
                  <a:lnTo>
                    <a:pt x="67" y="664"/>
                  </a:lnTo>
                  <a:lnTo>
                    <a:pt x="33" y="736"/>
                  </a:lnTo>
                  <a:lnTo>
                    <a:pt x="50" y="856"/>
                  </a:lnTo>
                  <a:lnTo>
                    <a:pt x="50" y="936"/>
                  </a:lnTo>
                  <a:lnTo>
                    <a:pt x="92" y="976"/>
                  </a:lnTo>
                  <a:lnTo>
                    <a:pt x="92" y="1016"/>
                  </a:lnTo>
                  <a:lnTo>
                    <a:pt x="67" y="1056"/>
                  </a:lnTo>
                  <a:lnTo>
                    <a:pt x="67" y="1144"/>
                  </a:lnTo>
                  <a:lnTo>
                    <a:pt x="33" y="1176"/>
                  </a:lnTo>
                  <a:lnTo>
                    <a:pt x="17" y="1272"/>
                  </a:lnTo>
                  <a:lnTo>
                    <a:pt x="0" y="1280"/>
                  </a:lnTo>
                  <a:lnTo>
                    <a:pt x="8" y="1328"/>
                  </a:lnTo>
                  <a:lnTo>
                    <a:pt x="33" y="1352"/>
                  </a:lnTo>
                  <a:lnTo>
                    <a:pt x="42" y="1376"/>
                  </a:lnTo>
                  <a:lnTo>
                    <a:pt x="42" y="1440"/>
                  </a:lnTo>
                  <a:lnTo>
                    <a:pt x="84" y="1504"/>
                  </a:lnTo>
                  <a:lnTo>
                    <a:pt x="109" y="1536"/>
                  </a:lnTo>
                  <a:lnTo>
                    <a:pt x="118" y="1568"/>
                  </a:lnTo>
                  <a:lnTo>
                    <a:pt x="109" y="1592"/>
                  </a:lnTo>
                  <a:lnTo>
                    <a:pt x="109" y="1616"/>
                  </a:lnTo>
                  <a:lnTo>
                    <a:pt x="126" y="1632"/>
                  </a:lnTo>
                  <a:lnTo>
                    <a:pt x="135" y="1664"/>
                  </a:lnTo>
                  <a:lnTo>
                    <a:pt x="135" y="1696"/>
                  </a:lnTo>
                  <a:lnTo>
                    <a:pt x="202" y="1696"/>
                  </a:lnTo>
                  <a:lnTo>
                    <a:pt x="236" y="1680"/>
                  </a:lnTo>
                  <a:lnTo>
                    <a:pt x="244" y="1648"/>
                  </a:lnTo>
                  <a:lnTo>
                    <a:pt x="261" y="1616"/>
                  </a:lnTo>
                  <a:lnTo>
                    <a:pt x="286" y="1600"/>
                  </a:lnTo>
                  <a:lnTo>
                    <a:pt x="354" y="1608"/>
                  </a:lnTo>
                  <a:lnTo>
                    <a:pt x="387" y="1472"/>
                  </a:lnTo>
                  <a:lnTo>
                    <a:pt x="396" y="1440"/>
                  </a:lnTo>
                  <a:lnTo>
                    <a:pt x="387" y="1408"/>
                  </a:lnTo>
                  <a:lnTo>
                    <a:pt x="387" y="1368"/>
                  </a:lnTo>
                  <a:lnTo>
                    <a:pt x="396" y="1336"/>
                  </a:lnTo>
                  <a:lnTo>
                    <a:pt x="404" y="1296"/>
                  </a:lnTo>
                  <a:lnTo>
                    <a:pt x="421" y="1272"/>
                  </a:lnTo>
                  <a:lnTo>
                    <a:pt x="472" y="1240"/>
                  </a:lnTo>
                  <a:lnTo>
                    <a:pt x="497" y="1224"/>
                  </a:lnTo>
                  <a:lnTo>
                    <a:pt x="497" y="1192"/>
                  </a:lnTo>
                  <a:lnTo>
                    <a:pt x="505" y="1168"/>
                  </a:lnTo>
                  <a:lnTo>
                    <a:pt x="522" y="1144"/>
                  </a:lnTo>
                  <a:lnTo>
                    <a:pt x="480" y="1088"/>
                  </a:lnTo>
                  <a:lnTo>
                    <a:pt x="413" y="1048"/>
                  </a:lnTo>
                  <a:lnTo>
                    <a:pt x="396" y="1040"/>
                  </a:lnTo>
                  <a:lnTo>
                    <a:pt x="387" y="1024"/>
                  </a:lnTo>
                  <a:lnTo>
                    <a:pt x="387" y="984"/>
                  </a:lnTo>
                  <a:lnTo>
                    <a:pt x="379" y="904"/>
                  </a:lnTo>
                  <a:lnTo>
                    <a:pt x="387" y="832"/>
                  </a:lnTo>
                  <a:lnTo>
                    <a:pt x="429" y="760"/>
                  </a:lnTo>
                  <a:lnTo>
                    <a:pt x="480" y="704"/>
                  </a:lnTo>
                  <a:lnTo>
                    <a:pt x="539" y="648"/>
                  </a:lnTo>
                  <a:lnTo>
                    <a:pt x="556" y="624"/>
                  </a:lnTo>
                  <a:lnTo>
                    <a:pt x="564" y="584"/>
                  </a:lnTo>
                  <a:lnTo>
                    <a:pt x="581" y="560"/>
                  </a:lnTo>
                  <a:lnTo>
                    <a:pt x="581" y="536"/>
                  </a:lnTo>
                  <a:lnTo>
                    <a:pt x="573" y="496"/>
                  </a:lnTo>
                  <a:lnTo>
                    <a:pt x="581" y="464"/>
                  </a:lnTo>
                  <a:lnTo>
                    <a:pt x="606" y="424"/>
                  </a:lnTo>
                  <a:lnTo>
                    <a:pt x="615" y="384"/>
                  </a:lnTo>
                  <a:lnTo>
                    <a:pt x="682" y="376"/>
                  </a:lnTo>
                  <a:lnTo>
                    <a:pt x="691" y="376"/>
                  </a:lnTo>
                  <a:lnTo>
                    <a:pt x="674" y="328"/>
                  </a:lnTo>
                  <a:lnTo>
                    <a:pt x="657" y="288"/>
                  </a:lnTo>
                  <a:lnTo>
                    <a:pt x="649" y="240"/>
                  </a:lnTo>
                  <a:lnTo>
                    <a:pt x="649" y="192"/>
                  </a:lnTo>
                  <a:lnTo>
                    <a:pt x="606" y="160"/>
                  </a:lnTo>
                  <a:lnTo>
                    <a:pt x="606" y="120"/>
                  </a:lnTo>
                  <a:lnTo>
                    <a:pt x="573" y="80"/>
                  </a:lnTo>
                  <a:lnTo>
                    <a:pt x="480" y="40"/>
                  </a:lnTo>
                  <a:lnTo>
                    <a:pt x="446" y="0"/>
                  </a:lnTo>
                  <a:lnTo>
                    <a:pt x="429" y="8"/>
                  </a:lnTo>
                  <a:lnTo>
                    <a:pt x="429" y="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50" name="Freeform 104"/>
            <p:cNvSpPr>
              <a:spLocks/>
            </p:cNvSpPr>
            <p:nvPr/>
          </p:nvSpPr>
          <p:spPr bwMode="auto">
            <a:xfrm>
              <a:off x="3423" y="0"/>
              <a:ext cx="1340" cy="1688"/>
            </a:xfrm>
            <a:custGeom>
              <a:avLst/>
              <a:gdLst>
                <a:gd name="T0" fmla="*/ 1323 w 1340"/>
                <a:gd name="T1" fmla="*/ 40 h 1688"/>
                <a:gd name="T2" fmla="*/ 1205 w 1340"/>
                <a:gd name="T3" fmla="*/ 24 h 1688"/>
                <a:gd name="T4" fmla="*/ 1172 w 1340"/>
                <a:gd name="T5" fmla="*/ 0 h 1688"/>
                <a:gd name="T6" fmla="*/ 1130 w 1340"/>
                <a:gd name="T7" fmla="*/ 24 h 1688"/>
                <a:gd name="T8" fmla="*/ 1071 w 1340"/>
                <a:gd name="T9" fmla="*/ 120 h 1688"/>
                <a:gd name="T10" fmla="*/ 1012 w 1340"/>
                <a:gd name="T11" fmla="*/ 40 h 1688"/>
                <a:gd name="T12" fmla="*/ 961 w 1340"/>
                <a:gd name="T13" fmla="*/ 136 h 1688"/>
                <a:gd name="T14" fmla="*/ 877 w 1340"/>
                <a:gd name="T15" fmla="*/ 184 h 1688"/>
                <a:gd name="T16" fmla="*/ 809 w 1340"/>
                <a:gd name="T17" fmla="*/ 176 h 1688"/>
                <a:gd name="T18" fmla="*/ 717 w 1340"/>
                <a:gd name="T19" fmla="*/ 248 h 1688"/>
                <a:gd name="T20" fmla="*/ 700 w 1340"/>
                <a:gd name="T21" fmla="*/ 328 h 1688"/>
                <a:gd name="T22" fmla="*/ 645 w 1340"/>
                <a:gd name="T23" fmla="*/ 418 h 1688"/>
                <a:gd name="T24" fmla="*/ 590 w 1340"/>
                <a:gd name="T25" fmla="*/ 504 h 1688"/>
                <a:gd name="T26" fmla="*/ 565 w 1340"/>
                <a:gd name="T27" fmla="*/ 560 h 1688"/>
                <a:gd name="T28" fmla="*/ 472 w 1340"/>
                <a:gd name="T29" fmla="*/ 744 h 1688"/>
                <a:gd name="T30" fmla="*/ 396 w 1340"/>
                <a:gd name="T31" fmla="*/ 848 h 1688"/>
                <a:gd name="T32" fmla="*/ 396 w 1340"/>
                <a:gd name="T33" fmla="*/ 896 h 1688"/>
                <a:gd name="T34" fmla="*/ 304 w 1340"/>
                <a:gd name="T35" fmla="*/ 1024 h 1688"/>
                <a:gd name="T36" fmla="*/ 236 w 1340"/>
                <a:gd name="T37" fmla="*/ 1032 h 1688"/>
                <a:gd name="T38" fmla="*/ 186 w 1340"/>
                <a:gd name="T39" fmla="*/ 1088 h 1688"/>
                <a:gd name="T40" fmla="*/ 93 w 1340"/>
                <a:gd name="T41" fmla="*/ 1144 h 1688"/>
                <a:gd name="T42" fmla="*/ 26 w 1340"/>
                <a:gd name="T43" fmla="*/ 1200 h 1688"/>
                <a:gd name="T44" fmla="*/ 9 w 1340"/>
                <a:gd name="T45" fmla="*/ 1264 h 1688"/>
                <a:gd name="T46" fmla="*/ 9 w 1340"/>
                <a:gd name="T47" fmla="*/ 1304 h 1688"/>
                <a:gd name="T48" fmla="*/ 0 w 1340"/>
                <a:gd name="T49" fmla="*/ 1352 h 1688"/>
                <a:gd name="T50" fmla="*/ 9 w 1340"/>
                <a:gd name="T51" fmla="*/ 1424 h 1688"/>
                <a:gd name="T52" fmla="*/ 51 w 1340"/>
                <a:gd name="T53" fmla="*/ 1464 h 1688"/>
                <a:gd name="T54" fmla="*/ 17 w 1340"/>
                <a:gd name="T55" fmla="*/ 1512 h 1688"/>
                <a:gd name="T56" fmla="*/ 59 w 1340"/>
                <a:gd name="T57" fmla="*/ 1552 h 1688"/>
                <a:gd name="T58" fmla="*/ 17 w 1340"/>
                <a:gd name="T59" fmla="*/ 1584 h 1688"/>
                <a:gd name="T60" fmla="*/ 51 w 1340"/>
                <a:gd name="T61" fmla="*/ 1632 h 1688"/>
                <a:gd name="T62" fmla="*/ 102 w 1340"/>
                <a:gd name="T63" fmla="*/ 1688 h 1688"/>
                <a:gd name="T64" fmla="*/ 278 w 1340"/>
                <a:gd name="T65" fmla="*/ 1624 h 1688"/>
                <a:gd name="T66" fmla="*/ 346 w 1340"/>
                <a:gd name="T67" fmla="*/ 1576 h 1688"/>
                <a:gd name="T68" fmla="*/ 388 w 1340"/>
                <a:gd name="T69" fmla="*/ 1512 h 1688"/>
                <a:gd name="T70" fmla="*/ 422 w 1340"/>
                <a:gd name="T71" fmla="*/ 1592 h 1688"/>
                <a:gd name="T72" fmla="*/ 489 w 1340"/>
                <a:gd name="T73" fmla="*/ 1456 h 1688"/>
                <a:gd name="T74" fmla="*/ 514 w 1340"/>
                <a:gd name="T75" fmla="*/ 1288 h 1688"/>
                <a:gd name="T76" fmla="*/ 455 w 1340"/>
                <a:gd name="T77" fmla="*/ 1048 h 1688"/>
                <a:gd name="T78" fmla="*/ 582 w 1340"/>
                <a:gd name="T79" fmla="*/ 912 h 1688"/>
                <a:gd name="T80" fmla="*/ 590 w 1340"/>
                <a:gd name="T81" fmla="*/ 712 h 1688"/>
                <a:gd name="T82" fmla="*/ 691 w 1340"/>
                <a:gd name="T83" fmla="*/ 568 h 1688"/>
                <a:gd name="T84" fmla="*/ 717 w 1340"/>
                <a:gd name="T85" fmla="*/ 440 h 1688"/>
                <a:gd name="T86" fmla="*/ 851 w 1340"/>
                <a:gd name="T87" fmla="*/ 400 h 1688"/>
                <a:gd name="T88" fmla="*/ 851 w 1340"/>
                <a:gd name="T89" fmla="*/ 296 h 1688"/>
                <a:gd name="T90" fmla="*/ 1037 w 1340"/>
                <a:gd name="T91" fmla="*/ 304 h 1688"/>
                <a:gd name="T92" fmla="*/ 1113 w 1340"/>
                <a:gd name="T93" fmla="*/ 176 h 1688"/>
                <a:gd name="T94" fmla="*/ 1264 w 1340"/>
                <a:gd name="T95" fmla="*/ 168 h 1688"/>
                <a:gd name="T96" fmla="*/ 1340 w 1340"/>
                <a:gd name="T97" fmla="*/ 144 h 16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340" h="1688">
                  <a:moveTo>
                    <a:pt x="1239" y="104"/>
                  </a:moveTo>
                  <a:lnTo>
                    <a:pt x="1281" y="80"/>
                  </a:lnTo>
                  <a:lnTo>
                    <a:pt x="1323" y="40"/>
                  </a:lnTo>
                  <a:lnTo>
                    <a:pt x="1239" y="16"/>
                  </a:lnTo>
                  <a:lnTo>
                    <a:pt x="1214" y="8"/>
                  </a:lnTo>
                  <a:lnTo>
                    <a:pt x="1205" y="24"/>
                  </a:lnTo>
                  <a:lnTo>
                    <a:pt x="1180" y="56"/>
                  </a:lnTo>
                  <a:lnTo>
                    <a:pt x="1172" y="16"/>
                  </a:lnTo>
                  <a:lnTo>
                    <a:pt x="1172" y="0"/>
                  </a:lnTo>
                  <a:lnTo>
                    <a:pt x="1146" y="0"/>
                  </a:lnTo>
                  <a:lnTo>
                    <a:pt x="1130" y="0"/>
                  </a:lnTo>
                  <a:lnTo>
                    <a:pt x="1130" y="24"/>
                  </a:lnTo>
                  <a:lnTo>
                    <a:pt x="1130" y="64"/>
                  </a:lnTo>
                  <a:lnTo>
                    <a:pt x="1104" y="24"/>
                  </a:lnTo>
                  <a:lnTo>
                    <a:pt x="1071" y="120"/>
                  </a:lnTo>
                  <a:lnTo>
                    <a:pt x="1062" y="48"/>
                  </a:lnTo>
                  <a:lnTo>
                    <a:pt x="1037" y="24"/>
                  </a:lnTo>
                  <a:lnTo>
                    <a:pt x="1012" y="40"/>
                  </a:lnTo>
                  <a:lnTo>
                    <a:pt x="961" y="80"/>
                  </a:lnTo>
                  <a:lnTo>
                    <a:pt x="953" y="112"/>
                  </a:lnTo>
                  <a:lnTo>
                    <a:pt x="961" y="136"/>
                  </a:lnTo>
                  <a:lnTo>
                    <a:pt x="902" y="144"/>
                  </a:lnTo>
                  <a:lnTo>
                    <a:pt x="885" y="160"/>
                  </a:lnTo>
                  <a:lnTo>
                    <a:pt x="877" y="184"/>
                  </a:lnTo>
                  <a:lnTo>
                    <a:pt x="851" y="192"/>
                  </a:lnTo>
                  <a:lnTo>
                    <a:pt x="826" y="192"/>
                  </a:lnTo>
                  <a:lnTo>
                    <a:pt x="809" y="176"/>
                  </a:lnTo>
                  <a:lnTo>
                    <a:pt x="784" y="176"/>
                  </a:lnTo>
                  <a:lnTo>
                    <a:pt x="750" y="208"/>
                  </a:lnTo>
                  <a:lnTo>
                    <a:pt x="717" y="248"/>
                  </a:lnTo>
                  <a:lnTo>
                    <a:pt x="683" y="296"/>
                  </a:lnTo>
                  <a:lnTo>
                    <a:pt x="683" y="320"/>
                  </a:lnTo>
                  <a:lnTo>
                    <a:pt x="700" y="328"/>
                  </a:lnTo>
                  <a:lnTo>
                    <a:pt x="659" y="374"/>
                  </a:lnTo>
                  <a:lnTo>
                    <a:pt x="641" y="368"/>
                  </a:lnTo>
                  <a:lnTo>
                    <a:pt x="645" y="418"/>
                  </a:lnTo>
                  <a:lnTo>
                    <a:pt x="616" y="456"/>
                  </a:lnTo>
                  <a:lnTo>
                    <a:pt x="599" y="480"/>
                  </a:lnTo>
                  <a:lnTo>
                    <a:pt x="590" y="504"/>
                  </a:lnTo>
                  <a:lnTo>
                    <a:pt x="607" y="520"/>
                  </a:lnTo>
                  <a:lnTo>
                    <a:pt x="573" y="536"/>
                  </a:lnTo>
                  <a:lnTo>
                    <a:pt x="565" y="560"/>
                  </a:lnTo>
                  <a:lnTo>
                    <a:pt x="540" y="576"/>
                  </a:lnTo>
                  <a:lnTo>
                    <a:pt x="523" y="624"/>
                  </a:lnTo>
                  <a:lnTo>
                    <a:pt x="472" y="744"/>
                  </a:lnTo>
                  <a:lnTo>
                    <a:pt x="455" y="816"/>
                  </a:lnTo>
                  <a:lnTo>
                    <a:pt x="439" y="840"/>
                  </a:lnTo>
                  <a:lnTo>
                    <a:pt x="396" y="848"/>
                  </a:lnTo>
                  <a:lnTo>
                    <a:pt x="405" y="872"/>
                  </a:lnTo>
                  <a:lnTo>
                    <a:pt x="413" y="888"/>
                  </a:lnTo>
                  <a:lnTo>
                    <a:pt x="396" y="896"/>
                  </a:lnTo>
                  <a:lnTo>
                    <a:pt x="346" y="952"/>
                  </a:lnTo>
                  <a:lnTo>
                    <a:pt x="321" y="1008"/>
                  </a:lnTo>
                  <a:lnTo>
                    <a:pt x="304" y="1024"/>
                  </a:lnTo>
                  <a:lnTo>
                    <a:pt x="295" y="1032"/>
                  </a:lnTo>
                  <a:lnTo>
                    <a:pt x="262" y="1024"/>
                  </a:lnTo>
                  <a:lnTo>
                    <a:pt x="236" y="1032"/>
                  </a:lnTo>
                  <a:lnTo>
                    <a:pt x="228" y="1040"/>
                  </a:lnTo>
                  <a:lnTo>
                    <a:pt x="220" y="1064"/>
                  </a:lnTo>
                  <a:lnTo>
                    <a:pt x="186" y="1088"/>
                  </a:lnTo>
                  <a:lnTo>
                    <a:pt x="152" y="1104"/>
                  </a:lnTo>
                  <a:lnTo>
                    <a:pt x="127" y="1128"/>
                  </a:lnTo>
                  <a:lnTo>
                    <a:pt x="93" y="1144"/>
                  </a:lnTo>
                  <a:lnTo>
                    <a:pt x="68" y="1168"/>
                  </a:lnTo>
                  <a:lnTo>
                    <a:pt x="51" y="1192"/>
                  </a:lnTo>
                  <a:lnTo>
                    <a:pt x="26" y="1200"/>
                  </a:lnTo>
                  <a:lnTo>
                    <a:pt x="17" y="1208"/>
                  </a:lnTo>
                  <a:lnTo>
                    <a:pt x="17" y="1248"/>
                  </a:lnTo>
                  <a:lnTo>
                    <a:pt x="9" y="1264"/>
                  </a:lnTo>
                  <a:lnTo>
                    <a:pt x="17" y="1272"/>
                  </a:lnTo>
                  <a:lnTo>
                    <a:pt x="17" y="1288"/>
                  </a:lnTo>
                  <a:lnTo>
                    <a:pt x="9" y="1304"/>
                  </a:lnTo>
                  <a:lnTo>
                    <a:pt x="17" y="1312"/>
                  </a:lnTo>
                  <a:lnTo>
                    <a:pt x="17" y="1328"/>
                  </a:lnTo>
                  <a:lnTo>
                    <a:pt x="0" y="1352"/>
                  </a:lnTo>
                  <a:lnTo>
                    <a:pt x="17" y="1384"/>
                  </a:lnTo>
                  <a:lnTo>
                    <a:pt x="43" y="1408"/>
                  </a:lnTo>
                  <a:lnTo>
                    <a:pt x="9" y="1424"/>
                  </a:lnTo>
                  <a:lnTo>
                    <a:pt x="34" y="1432"/>
                  </a:lnTo>
                  <a:lnTo>
                    <a:pt x="9" y="1480"/>
                  </a:lnTo>
                  <a:lnTo>
                    <a:pt x="51" y="1464"/>
                  </a:lnTo>
                  <a:lnTo>
                    <a:pt x="51" y="1480"/>
                  </a:lnTo>
                  <a:lnTo>
                    <a:pt x="43" y="1488"/>
                  </a:lnTo>
                  <a:lnTo>
                    <a:pt x="17" y="1512"/>
                  </a:lnTo>
                  <a:lnTo>
                    <a:pt x="17" y="1544"/>
                  </a:lnTo>
                  <a:lnTo>
                    <a:pt x="43" y="1544"/>
                  </a:lnTo>
                  <a:lnTo>
                    <a:pt x="59" y="1552"/>
                  </a:lnTo>
                  <a:lnTo>
                    <a:pt x="59" y="1568"/>
                  </a:lnTo>
                  <a:lnTo>
                    <a:pt x="34" y="1584"/>
                  </a:lnTo>
                  <a:lnTo>
                    <a:pt x="17" y="1584"/>
                  </a:lnTo>
                  <a:lnTo>
                    <a:pt x="9" y="1592"/>
                  </a:lnTo>
                  <a:lnTo>
                    <a:pt x="26" y="1616"/>
                  </a:lnTo>
                  <a:lnTo>
                    <a:pt x="51" y="1632"/>
                  </a:lnTo>
                  <a:lnTo>
                    <a:pt x="76" y="1656"/>
                  </a:lnTo>
                  <a:lnTo>
                    <a:pt x="118" y="1664"/>
                  </a:lnTo>
                  <a:lnTo>
                    <a:pt x="102" y="1688"/>
                  </a:lnTo>
                  <a:lnTo>
                    <a:pt x="177" y="1688"/>
                  </a:lnTo>
                  <a:lnTo>
                    <a:pt x="236" y="1664"/>
                  </a:lnTo>
                  <a:lnTo>
                    <a:pt x="278" y="1624"/>
                  </a:lnTo>
                  <a:lnTo>
                    <a:pt x="312" y="1576"/>
                  </a:lnTo>
                  <a:lnTo>
                    <a:pt x="329" y="1584"/>
                  </a:lnTo>
                  <a:lnTo>
                    <a:pt x="346" y="1576"/>
                  </a:lnTo>
                  <a:lnTo>
                    <a:pt x="363" y="1544"/>
                  </a:lnTo>
                  <a:lnTo>
                    <a:pt x="363" y="1512"/>
                  </a:lnTo>
                  <a:lnTo>
                    <a:pt x="388" y="1512"/>
                  </a:lnTo>
                  <a:lnTo>
                    <a:pt x="396" y="1528"/>
                  </a:lnTo>
                  <a:lnTo>
                    <a:pt x="405" y="1560"/>
                  </a:lnTo>
                  <a:lnTo>
                    <a:pt x="422" y="1592"/>
                  </a:lnTo>
                  <a:lnTo>
                    <a:pt x="439" y="1584"/>
                  </a:lnTo>
                  <a:lnTo>
                    <a:pt x="455" y="1488"/>
                  </a:lnTo>
                  <a:lnTo>
                    <a:pt x="489" y="1456"/>
                  </a:lnTo>
                  <a:lnTo>
                    <a:pt x="489" y="1368"/>
                  </a:lnTo>
                  <a:lnTo>
                    <a:pt x="514" y="1328"/>
                  </a:lnTo>
                  <a:lnTo>
                    <a:pt x="514" y="1288"/>
                  </a:lnTo>
                  <a:lnTo>
                    <a:pt x="472" y="1248"/>
                  </a:lnTo>
                  <a:lnTo>
                    <a:pt x="472" y="1168"/>
                  </a:lnTo>
                  <a:lnTo>
                    <a:pt x="455" y="1048"/>
                  </a:lnTo>
                  <a:lnTo>
                    <a:pt x="489" y="976"/>
                  </a:lnTo>
                  <a:lnTo>
                    <a:pt x="565" y="968"/>
                  </a:lnTo>
                  <a:lnTo>
                    <a:pt x="582" y="912"/>
                  </a:lnTo>
                  <a:lnTo>
                    <a:pt x="540" y="888"/>
                  </a:lnTo>
                  <a:lnTo>
                    <a:pt x="590" y="808"/>
                  </a:lnTo>
                  <a:lnTo>
                    <a:pt x="590" y="712"/>
                  </a:lnTo>
                  <a:lnTo>
                    <a:pt x="632" y="688"/>
                  </a:lnTo>
                  <a:lnTo>
                    <a:pt x="632" y="624"/>
                  </a:lnTo>
                  <a:lnTo>
                    <a:pt x="691" y="568"/>
                  </a:lnTo>
                  <a:lnTo>
                    <a:pt x="683" y="528"/>
                  </a:lnTo>
                  <a:lnTo>
                    <a:pt x="683" y="480"/>
                  </a:lnTo>
                  <a:lnTo>
                    <a:pt x="717" y="440"/>
                  </a:lnTo>
                  <a:lnTo>
                    <a:pt x="759" y="440"/>
                  </a:lnTo>
                  <a:lnTo>
                    <a:pt x="776" y="384"/>
                  </a:lnTo>
                  <a:lnTo>
                    <a:pt x="851" y="400"/>
                  </a:lnTo>
                  <a:lnTo>
                    <a:pt x="851" y="320"/>
                  </a:lnTo>
                  <a:lnTo>
                    <a:pt x="868" y="312"/>
                  </a:lnTo>
                  <a:lnTo>
                    <a:pt x="851" y="296"/>
                  </a:lnTo>
                  <a:lnTo>
                    <a:pt x="894" y="272"/>
                  </a:lnTo>
                  <a:lnTo>
                    <a:pt x="995" y="320"/>
                  </a:lnTo>
                  <a:lnTo>
                    <a:pt x="1037" y="304"/>
                  </a:lnTo>
                  <a:lnTo>
                    <a:pt x="1096" y="320"/>
                  </a:lnTo>
                  <a:lnTo>
                    <a:pt x="1113" y="248"/>
                  </a:lnTo>
                  <a:lnTo>
                    <a:pt x="1113" y="176"/>
                  </a:lnTo>
                  <a:lnTo>
                    <a:pt x="1146" y="136"/>
                  </a:lnTo>
                  <a:lnTo>
                    <a:pt x="1197" y="136"/>
                  </a:lnTo>
                  <a:lnTo>
                    <a:pt x="1264" y="168"/>
                  </a:lnTo>
                  <a:lnTo>
                    <a:pt x="1281" y="208"/>
                  </a:lnTo>
                  <a:lnTo>
                    <a:pt x="1306" y="176"/>
                  </a:lnTo>
                  <a:lnTo>
                    <a:pt x="1340" y="144"/>
                  </a:lnTo>
                  <a:lnTo>
                    <a:pt x="1340" y="120"/>
                  </a:lnTo>
                  <a:lnTo>
                    <a:pt x="1239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  <p:sp>
          <p:nvSpPr>
            <p:cNvPr id="151" name="Freeform 105"/>
            <p:cNvSpPr>
              <a:spLocks/>
            </p:cNvSpPr>
            <p:nvPr/>
          </p:nvSpPr>
          <p:spPr bwMode="auto">
            <a:xfrm>
              <a:off x="3423" y="-8"/>
              <a:ext cx="1340" cy="1688"/>
            </a:xfrm>
            <a:custGeom>
              <a:avLst/>
              <a:gdLst>
                <a:gd name="T0" fmla="*/ 1323 w 1340"/>
                <a:gd name="T1" fmla="*/ 40 h 1688"/>
                <a:gd name="T2" fmla="*/ 1205 w 1340"/>
                <a:gd name="T3" fmla="*/ 24 h 1688"/>
                <a:gd name="T4" fmla="*/ 1172 w 1340"/>
                <a:gd name="T5" fmla="*/ 0 h 1688"/>
                <a:gd name="T6" fmla="*/ 1130 w 1340"/>
                <a:gd name="T7" fmla="*/ 24 h 1688"/>
                <a:gd name="T8" fmla="*/ 1071 w 1340"/>
                <a:gd name="T9" fmla="*/ 120 h 1688"/>
                <a:gd name="T10" fmla="*/ 1012 w 1340"/>
                <a:gd name="T11" fmla="*/ 40 h 1688"/>
                <a:gd name="T12" fmla="*/ 961 w 1340"/>
                <a:gd name="T13" fmla="*/ 136 h 1688"/>
                <a:gd name="T14" fmla="*/ 877 w 1340"/>
                <a:gd name="T15" fmla="*/ 184 h 1688"/>
                <a:gd name="T16" fmla="*/ 809 w 1340"/>
                <a:gd name="T17" fmla="*/ 176 h 1688"/>
                <a:gd name="T18" fmla="*/ 717 w 1340"/>
                <a:gd name="T19" fmla="*/ 248 h 1688"/>
                <a:gd name="T20" fmla="*/ 700 w 1340"/>
                <a:gd name="T21" fmla="*/ 328 h 1688"/>
                <a:gd name="T22" fmla="*/ 645 w 1340"/>
                <a:gd name="T23" fmla="*/ 422 h 1688"/>
                <a:gd name="T24" fmla="*/ 590 w 1340"/>
                <a:gd name="T25" fmla="*/ 504 h 1688"/>
                <a:gd name="T26" fmla="*/ 565 w 1340"/>
                <a:gd name="T27" fmla="*/ 560 h 1688"/>
                <a:gd name="T28" fmla="*/ 472 w 1340"/>
                <a:gd name="T29" fmla="*/ 744 h 1688"/>
                <a:gd name="T30" fmla="*/ 396 w 1340"/>
                <a:gd name="T31" fmla="*/ 848 h 1688"/>
                <a:gd name="T32" fmla="*/ 396 w 1340"/>
                <a:gd name="T33" fmla="*/ 896 h 1688"/>
                <a:gd name="T34" fmla="*/ 304 w 1340"/>
                <a:gd name="T35" fmla="*/ 1024 h 1688"/>
                <a:gd name="T36" fmla="*/ 236 w 1340"/>
                <a:gd name="T37" fmla="*/ 1032 h 1688"/>
                <a:gd name="T38" fmla="*/ 186 w 1340"/>
                <a:gd name="T39" fmla="*/ 1088 h 1688"/>
                <a:gd name="T40" fmla="*/ 93 w 1340"/>
                <a:gd name="T41" fmla="*/ 1144 h 1688"/>
                <a:gd name="T42" fmla="*/ 26 w 1340"/>
                <a:gd name="T43" fmla="*/ 1200 h 1688"/>
                <a:gd name="T44" fmla="*/ 9 w 1340"/>
                <a:gd name="T45" fmla="*/ 1264 h 1688"/>
                <a:gd name="T46" fmla="*/ 9 w 1340"/>
                <a:gd name="T47" fmla="*/ 1304 h 1688"/>
                <a:gd name="T48" fmla="*/ 0 w 1340"/>
                <a:gd name="T49" fmla="*/ 1352 h 1688"/>
                <a:gd name="T50" fmla="*/ 9 w 1340"/>
                <a:gd name="T51" fmla="*/ 1424 h 1688"/>
                <a:gd name="T52" fmla="*/ 51 w 1340"/>
                <a:gd name="T53" fmla="*/ 1464 h 1688"/>
                <a:gd name="T54" fmla="*/ 17 w 1340"/>
                <a:gd name="T55" fmla="*/ 1512 h 1688"/>
                <a:gd name="T56" fmla="*/ 59 w 1340"/>
                <a:gd name="T57" fmla="*/ 1552 h 1688"/>
                <a:gd name="T58" fmla="*/ 17 w 1340"/>
                <a:gd name="T59" fmla="*/ 1584 h 1688"/>
                <a:gd name="T60" fmla="*/ 51 w 1340"/>
                <a:gd name="T61" fmla="*/ 1632 h 1688"/>
                <a:gd name="T62" fmla="*/ 102 w 1340"/>
                <a:gd name="T63" fmla="*/ 1688 h 1688"/>
                <a:gd name="T64" fmla="*/ 278 w 1340"/>
                <a:gd name="T65" fmla="*/ 1624 h 1688"/>
                <a:gd name="T66" fmla="*/ 346 w 1340"/>
                <a:gd name="T67" fmla="*/ 1576 h 1688"/>
                <a:gd name="T68" fmla="*/ 388 w 1340"/>
                <a:gd name="T69" fmla="*/ 1512 h 1688"/>
                <a:gd name="T70" fmla="*/ 422 w 1340"/>
                <a:gd name="T71" fmla="*/ 1592 h 1688"/>
                <a:gd name="T72" fmla="*/ 489 w 1340"/>
                <a:gd name="T73" fmla="*/ 1456 h 1688"/>
                <a:gd name="T74" fmla="*/ 514 w 1340"/>
                <a:gd name="T75" fmla="*/ 1288 h 1688"/>
                <a:gd name="T76" fmla="*/ 455 w 1340"/>
                <a:gd name="T77" fmla="*/ 1048 h 1688"/>
                <a:gd name="T78" fmla="*/ 582 w 1340"/>
                <a:gd name="T79" fmla="*/ 912 h 1688"/>
                <a:gd name="T80" fmla="*/ 590 w 1340"/>
                <a:gd name="T81" fmla="*/ 712 h 1688"/>
                <a:gd name="T82" fmla="*/ 691 w 1340"/>
                <a:gd name="T83" fmla="*/ 568 h 1688"/>
                <a:gd name="T84" fmla="*/ 717 w 1340"/>
                <a:gd name="T85" fmla="*/ 440 h 1688"/>
                <a:gd name="T86" fmla="*/ 851 w 1340"/>
                <a:gd name="T87" fmla="*/ 400 h 1688"/>
                <a:gd name="T88" fmla="*/ 851 w 1340"/>
                <a:gd name="T89" fmla="*/ 296 h 1688"/>
                <a:gd name="T90" fmla="*/ 1037 w 1340"/>
                <a:gd name="T91" fmla="*/ 304 h 1688"/>
                <a:gd name="T92" fmla="*/ 1113 w 1340"/>
                <a:gd name="T93" fmla="*/ 176 h 1688"/>
                <a:gd name="T94" fmla="*/ 1264 w 1340"/>
                <a:gd name="T95" fmla="*/ 168 h 1688"/>
                <a:gd name="T96" fmla="*/ 1340 w 1340"/>
                <a:gd name="T97" fmla="*/ 144 h 1688"/>
                <a:gd name="T98" fmla="*/ 1239 w 1340"/>
                <a:gd name="T99" fmla="*/ 104 h 168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340" h="1688">
                  <a:moveTo>
                    <a:pt x="1239" y="104"/>
                  </a:moveTo>
                  <a:lnTo>
                    <a:pt x="1281" y="80"/>
                  </a:lnTo>
                  <a:lnTo>
                    <a:pt x="1323" y="40"/>
                  </a:lnTo>
                  <a:lnTo>
                    <a:pt x="1239" y="16"/>
                  </a:lnTo>
                  <a:lnTo>
                    <a:pt x="1214" y="8"/>
                  </a:lnTo>
                  <a:lnTo>
                    <a:pt x="1205" y="24"/>
                  </a:lnTo>
                  <a:lnTo>
                    <a:pt x="1180" y="56"/>
                  </a:lnTo>
                  <a:lnTo>
                    <a:pt x="1172" y="16"/>
                  </a:lnTo>
                  <a:lnTo>
                    <a:pt x="1172" y="0"/>
                  </a:lnTo>
                  <a:lnTo>
                    <a:pt x="1146" y="0"/>
                  </a:lnTo>
                  <a:lnTo>
                    <a:pt x="1130" y="0"/>
                  </a:lnTo>
                  <a:lnTo>
                    <a:pt x="1130" y="24"/>
                  </a:lnTo>
                  <a:lnTo>
                    <a:pt x="1130" y="64"/>
                  </a:lnTo>
                  <a:lnTo>
                    <a:pt x="1104" y="24"/>
                  </a:lnTo>
                  <a:lnTo>
                    <a:pt x="1071" y="120"/>
                  </a:lnTo>
                  <a:lnTo>
                    <a:pt x="1062" y="48"/>
                  </a:lnTo>
                  <a:lnTo>
                    <a:pt x="1037" y="24"/>
                  </a:lnTo>
                  <a:lnTo>
                    <a:pt x="1012" y="40"/>
                  </a:lnTo>
                  <a:lnTo>
                    <a:pt x="961" y="80"/>
                  </a:lnTo>
                  <a:lnTo>
                    <a:pt x="953" y="112"/>
                  </a:lnTo>
                  <a:lnTo>
                    <a:pt x="961" y="136"/>
                  </a:lnTo>
                  <a:lnTo>
                    <a:pt x="902" y="144"/>
                  </a:lnTo>
                  <a:lnTo>
                    <a:pt x="885" y="160"/>
                  </a:lnTo>
                  <a:lnTo>
                    <a:pt x="877" y="184"/>
                  </a:lnTo>
                  <a:lnTo>
                    <a:pt x="851" y="192"/>
                  </a:lnTo>
                  <a:lnTo>
                    <a:pt x="826" y="192"/>
                  </a:lnTo>
                  <a:lnTo>
                    <a:pt x="809" y="176"/>
                  </a:lnTo>
                  <a:lnTo>
                    <a:pt x="784" y="176"/>
                  </a:lnTo>
                  <a:lnTo>
                    <a:pt x="750" y="208"/>
                  </a:lnTo>
                  <a:lnTo>
                    <a:pt x="717" y="248"/>
                  </a:lnTo>
                  <a:lnTo>
                    <a:pt x="683" y="296"/>
                  </a:lnTo>
                  <a:lnTo>
                    <a:pt x="683" y="320"/>
                  </a:lnTo>
                  <a:lnTo>
                    <a:pt x="700" y="328"/>
                  </a:lnTo>
                  <a:lnTo>
                    <a:pt x="658" y="376"/>
                  </a:lnTo>
                  <a:lnTo>
                    <a:pt x="639" y="374"/>
                  </a:lnTo>
                  <a:lnTo>
                    <a:pt x="645" y="422"/>
                  </a:lnTo>
                  <a:lnTo>
                    <a:pt x="616" y="456"/>
                  </a:lnTo>
                  <a:lnTo>
                    <a:pt x="599" y="480"/>
                  </a:lnTo>
                  <a:lnTo>
                    <a:pt x="590" y="504"/>
                  </a:lnTo>
                  <a:lnTo>
                    <a:pt x="607" y="520"/>
                  </a:lnTo>
                  <a:lnTo>
                    <a:pt x="573" y="536"/>
                  </a:lnTo>
                  <a:lnTo>
                    <a:pt x="565" y="560"/>
                  </a:lnTo>
                  <a:lnTo>
                    <a:pt x="540" y="576"/>
                  </a:lnTo>
                  <a:lnTo>
                    <a:pt x="523" y="624"/>
                  </a:lnTo>
                  <a:lnTo>
                    <a:pt x="472" y="744"/>
                  </a:lnTo>
                  <a:lnTo>
                    <a:pt x="455" y="816"/>
                  </a:lnTo>
                  <a:lnTo>
                    <a:pt x="439" y="840"/>
                  </a:lnTo>
                  <a:lnTo>
                    <a:pt x="396" y="848"/>
                  </a:lnTo>
                  <a:lnTo>
                    <a:pt x="405" y="872"/>
                  </a:lnTo>
                  <a:lnTo>
                    <a:pt x="413" y="888"/>
                  </a:lnTo>
                  <a:lnTo>
                    <a:pt x="396" y="896"/>
                  </a:lnTo>
                  <a:lnTo>
                    <a:pt x="346" y="952"/>
                  </a:lnTo>
                  <a:lnTo>
                    <a:pt x="321" y="1008"/>
                  </a:lnTo>
                  <a:lnTo>
                    <a:pt x="304" y="1024"/>
                  </a:lnTo>
                  <a:lnTo>
                    <a:pt x="295" y="1032"/>
                  </a:lnTo>
                  <a:lnTo>
                    <a:pt x="262" y="1024"/>
                  </a:lnTo>
                  <a:lnTo>
                    <a:pt x="236" y="1032"/>
                  </a:lnTo>
                  <a:lnTo>
                    <a:pt x="228" y="1040"/>
                  </a:lnTo>
                  <a:lnTo>
                    <a:pt x="220" y="1064"/>
                  </a:lnTo>
                  <a:lnTo>
                    <a:pt x="186" y="1088"/>
                  </a:lnTo>
                  <a:lnTo>
                    <a:pt x="152" y="1104"/>
                  </a:lnTo>
                  <a:lnTo>
                    <a:pt x="127" y="1128"/>
                  </a:lnTo>
                  <a:lnTo>
                    <a:pt x="93" y="1144"/>
                  </a:lnTo>
                  <a:lnTo>
                    <a:pt x="68" y="1168"/>
                  </a:lnTo>
                  <a:lnTo>
                    <a:pt x="51" y="1192"/>
                  </a:lnTo>
                  <a:lnTo>
                    <a:pt x="26" y="1200"/>
                  </a:lnTo>
                  <a:lnTo>
                    <a:pt x="17" y="1208"/>
                  </a:lnTo>
                  <a:lnTo>
                    <a:pt x="17" y="1248"/>
                  </a:lnTo>
                  <a:lnTo>
                    <a:pt x="9" y="1264"/>
                  </a:lnTo>
                  <a:lnTo>
                    <a:pt x="17" y="1272"/>
                  </a:lnTo>
                  <a:lnTo>
                    <a:pt x="17" y="1288"/>
                  </a:lnTo>
                  <a:lnTo>
                    <a:pt x="9" y="1304"/>
                  </a:lnTo>
                  <a:lnTo>
                    <a:pt x="17" y="1312"/>
                  </a:lnTo>
                  <a:lnTo>
                    <a:pt x="17" y="1328"/>
                  </a:lnTo>
                  <a:lnTo>
                    <a:pt x="0" y="1352"/>
                  </a:lnTo>
                  <a:lnTo>
                    <a:pt x="17" y="1384"/>
                  </a:lnTo>
                  <a:lnTo>
                    <a:pt x="43" y="1408"/>
                  </a:lnTo>
                  <a:lnTo>
                    <a:pt x="9" y="1424"/>
                  </a:lnTo>
                  <a:lnTo>
                    <a:pt x="34" y="1432"/>
                  </a:lnTo>
                  <a:lnTo>
                    <a:pt x="9" y="1480"/>
                  </a:lnTo>
                  <a:lnTo>
                    <a:pt x="51" y="1464"/>
                  </a:lnTo>
                  <a:lnTo>
                    <a:pt x="51" y="1480"/>
                  </a:lnTo>
                  <a:lnTo>
                    <a:pt x="43" y="1488"/>
                  </a:lnTo>
                  <a:lnTo>
                    <a:pt x="17" y="1512"/>
                  </a:lnTo>
                  <a:lnTo>
                    <a:pt x="17" y="1544"/>
                  </a:lnTo>
                  <a:lnTo>
                    <a:pt x="43" y="1544"/>
                  </a:lnTo>
                  <a:lnTo>
                    <a:pt x="59" y="1552"/>
                  </a:lnTo>
                  <a:lnTo>
                    <a:pt x="59" y="1568"/>
                  </a:lnTo>
                  <a:lnTo>
                    <a:pt x="34" y="1584"/>
                  </a:lnTo>
                  <a:lnTo>
                    <a:pt x="17" y="1584"/>
                  </a:lnTo>
                  <a:lnTo>
                    <a:pt x="9" y="1592"/>
                  </a:lnTo>
                  <a:lnTo>
                    <a:pt x="26" y="1616"/>
                  </a:lnTo>
                  <a:lnTo>
                    <a:pt x="51" y="1632"/>
                  </a:lnTo>
                  <a:lnTo>
                    <a:pt x="76" y="1656"/>
                  </a:lnTo>
                  <a:lnTo>
                    <a:pt x="118" y="1664"/>
                  </a:lnTo>
                  <a:lnTo>
                    <a:pt x="102" y="1688"/>
                  </a:lnTo>
                  <a:lnTo>
                    <a:pt x="177" y="1688"/>
                  </a:lnTo>
                  <a:lnTo>
                    <a:pt x="236" y="1664"/>
                  </a:lnTo>
                  <a:lnTo>
                    <a:pt x="278" y="1624"/>
                  </a:lnTo>
                  <a:lnTo>
                    <a:pt x="312" y="1576"/>
                  </a:lnTo>
                  <a:lnTo>
                    <a:pt x="329" y="1584"/>
                  </a:lnTo>
                  <a:lnTo>
                    <a:pt x="346" y="1576"/>
                  </a:lnTo>
                  <a:lnTo>
                    <a:pt x="363" y="1544"/>
                  </a:lnTo>
                  <a:lnTo>
                    <a:pt x="363" y="1512"/>
                  </a:lnTo>
                  <a:lnTo>
                    <a:pt x="388" y="1512"/>
                  </a:lnTo>
                  <a:lnTo>
                    <a:pt x="396" y="1528"/>
                  </a:lnTo>
                  <a:lnTo>
                    <a:pt x="405" y="1560"/>
                  </a:lnTo>
                  <a:lnTo>
                    <a:pt x="422" y="1592"/>
                  </a:lnTo>
                  <a:lnTo>
                    <a:pt x="439" y="1584"/>
                  </a:lnTo>
                  <a:lnTo>
                    <a:pt x="455" y="1488"/>
                  </a:lnTo>
                  <a:lnTo>
                    <a:pt x="489" y="1456"/>
                  </a:lnTo>
                  <a:lnTo>
                    <a:pt x="489" y="1368"/>
                  </a:lnTo>
                  <a:lnTo>
                    <a:pt x="514" y="1328"/>
                  </a:lnTo>
                  <a:lnTo>
                    <a:pt x="514" y="1288"/>
                  </a:lnTo>
                  <a:lnTo>
                    <a:pt x="472" y="1248"/>
                  </a:lnTo>
                  <a:lnTo>
                    <a:pt x="472" y="1168"/>
                  </a:lnTo>
                  <a:lnTo>
                    <a:pt x="455" y="1048"/>
                  </a:lnTo>
                  <a:lnTo>
                    <a:pt x="489" y="976"/>
                  </a:lnTo>
                  <a:lnTo>
                    <a:pt x="565" y="968"/>
                  </a:lnTo>
                  <a:lnTo>
                    <a:pt x="582" y="912"/>
                  </a:lnTo>
                  <a:lnTo>
                    <a:pt x="540" y="888"/>
                  </a:lnTo>
                  <a:lnTo>
                    <a:pt x="590" y="808"/>
                  </a:lnTo>
                  <a:lnTo>
                    <a:pt x="590" y="712"/>
                  </a:lnTo>
                  <a:lnTo>
                    <a:pt x="632" y="688"/>
                  </a:lnTo>
                  <a:lnTo>
                    <a:pt x="632" y="624"/>
                  </a:lnTo>
                  <a:lnTo>
                    <a:pt x="691" y="568"/>
                  </a:lnTo>
                  <a:lnTo>
                    <a:pt x="683" y="528"/>
                  </a:lnTo>
                  <a:lnTo>
                    <a:pt x="683" y="480"/>
                  </a:lnTo>
                  <a:lnTo>
                    <a:pt x="717" y="440"/>
                  </a:lnTo>
                  <a:lnTo>
                    <a:pt x="759" y="440"/>
                  </a:lnTo>
                  <a:lnTo>
                    <a:pt x="776" y="384"/>
                  </a:lnTo>
                  <a:lnTo>
                    <a:pt x="851" y="400"/>
                  </a:lnTo>
                  <a:lnTo>
                    <a:pt x="851" y="320"/>
                  </a:lnTo>
                  <a:lnTo>
                    <a:pt x="868" y="312"/>
                  </a:lnTo>
                  <a:lnTo>
                    <a:pt x="851" y="296"/>
                  </a:lnTo>
                  <a:lnTo>
                    <a:pt x="894" y="272"/>
                  </a:lnTo>
                  <a:lnTo>
                    <a:pt x="995" y="320"/>
                  </a:lnTo>
                  <a:lnTo>
                    <a:pt x="1037" y="304"/>
                  </a:lnTo>
                  <a:lnTo>
                    <a:pt x="1096" y="320"/>
                  </a:lnTo>
                  <a:lnTo>
                    <a:pt x="1113" y="248"/>
                  </a:lnTo>
                  <a:lnTo>
                    <a:pt x="1113" y="176"/>
                  </a:lnTo>
                  <a:lnTo>
                    <a:pt x="1146" y="136"/>
                  </a:lnTo>
                  <a:lnTo>
                    <a:pt x="1197" y="136"/>
                  </a:lnTo>
                  <a:lnTo>
                    <a:pt x="1264" y="168"/>
                  </a:lnTo>
                  <a:lnTo>
                    <a:pt x="1281" y="208"/>
                  </a:lnTo>
                  <a:lnTo>
                    <a:pt x="1306" y="176"/>
                  </a:lnTo>
                  <a:lnTo>
                    <a:pt x="1340" y="144"/>
                  </a:lnTo>
                  <a:lnTo>
                    <a:pt x="1340" y="120"/>
                  </a:lnTo>
                  <a:lnTo>
                    <a:pt x="1239" y="1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53565A"/>
                </a:solidFill>
              </a:endParaRPr>
            </a:p>
          </p:txBody>
        </p:sp>
      </p:grpSp>
      <p:pic>
        <p:nvPicPr>
          <p:cNvPr id="152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51" y="1497012"/>
            <a:ext cx="1228071" cy="477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" name="TextBox 152"/>
          <p:cNvSpPr txBox="1"/>
          <p:nvPr/>
        </p:nvSpPr>
        <p:spPr>
          <a:xfrm>
            <a:off x="1326297" y="1460133"/>
            <a:ext cx="3713793" cy="58477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53565A"/>
                </a:solidFill>
              </a:rPr>
              <a:t>WT, UK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53565A"/>
                </a:solidFill>
              </a:rPr>
              <a:t>Gold – preferred, with funding available, CC B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53565A"/>
                </a:solidFill>
              </a:rPr>
              <a:t>Green – 6 month embargo and deposit in PMC</a:t>
            </a:r>
          </a:p>
        </p:txBody>
      </p:sp>
      <p:sp>
        <p:nvSpPr>
          <p:cNvPr id="154" name="Rectangle 153"/>
          <p:cNvSpPr/>
          <p:nvPr/>
        </p:nvSpPr>
        <p:spPr>
          <a:xfrm>
            <a:off x="1322918" y="2102298"/>
            <a:ext cx="3703560" cy="584775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200" b="1" dirty="0">
                <a:solidFill>
                  <a:srgbClr val="53565A"/>
                </a:solidFill>
                <a:cs typeface="Arial" panose="020B0604020202020204" pitchFamily="34" charset="0"/>
              </a:rPr>
              <a:t>HEFCE, UK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53565A"/>
                </a:solidFill>
                <a:cs typeface="Arial" panose="020B0604020202020204" pitchFamily="34" charset="0"/>
              </a:rPr>
              <a:t>Gold – permitted, no specific license, no new fund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53565A"/>
                </a:solidFill>
                <a:cs typeface="Arial" panose="020B0604020202020204" pitchFamily="34" charset="0"/>
              </a:rPr>
              <a:t>Green – 12/24 month embargo deposit AM in repository</a:t>
            </a:r>
          </a:p>
        </p:txBody>
      </p:sp>
      <p:sp>
        <p:nvSpPr>
          <p:cNvPr id="155" name="Rectangle 154"/>
          <p:cNvSpPr/>
          <p:nvPr/>
        </p:nvSpPr>
        <p:spPr>
          <a:xfrm>
            <a:off x="1326297" y="808847"/>
            <a:ext cx="3700181" cy="58477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rgbClr val="53565A"/>
                </a:solidFill>
              </a:rPr>
              <a:t>UKRI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53565A"/>
                </a:solidFill>
              </a:rPr>
              <a:t>Gold </a:t>
            </a:r>
            <a:r>
              <a:rPr lang="en-US" sz="1000" dirty="0">
                <a:solidFill>
                  <a:srgbClr val="53565A"/>
                </a:solidFill>
              </a:rPr>
              <a:t>– preferred, with funding available, CC BY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53565A"/>
                </a:solidFill>
              </a:rPr>
              <a:t>Green – 12/24 month embargo </a:t>
            </a:r>
            <a:endParaRPr lang="en-US" sz="1000" dirty="0">
              <a:solidFill>
                <a:srgbClr val="53565A"/>
              </a:solidFill>
            </a:endParaRPr>
          </a:p>
        </p:txBody>
      </p:sp>
      <p:cxnSp>
        <p:nvCxnSpPr>
          <p:cNvPr id="157" name="Straight Arrow Connector 156"/>
          <p:cNvCxnSpPr>
            <a:stCxn id="161" idx="3"/>
          </p:cNvCxnSpPr>
          <p:nvPr/>
        </p:nvCxnSpPr>
        <p:spPr>
          <a:xfrm>
            <a:off x="5023212" y="3056160"/>
            <a:ext cx="1283781" cy="6898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58" name="Straight Arrow Connector 157"/>
          <p:cNvCxnSpPr>
            <a:stCxn id="153" idx="3"/>
            <a:endCxn id="61" idx="37"/>
          </p:cNvCxnSpPr>
          <p:nvPr/>
        </p:nvCxnSpPr>
        <p:spPr>
          <a:xfrm>
            <a:off x="5040090" y="1752521"/>
            <a:ext cx="1364306" cy="123391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5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21" y="2102298"/>
            <a:ext cx="610665" cy="610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0" name="Straight Arrow Connector 159"/>
          <p:cNvCxnSpPr>
            <a:stCxn id="154" idx="3"/>
            <a:endCxn id="61" idx="34"/>
          </p:cNvCxnSpPr>
          <p:nvPr/>
        </p:nvCxnSpPr>
        <p:spPr>
          <a:xfrm>
            <a:off x="5026478" y="2394686"/>
            <a:ext cx="1424858" cy="7441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61" name="TextBox 160"/>
          <p:cNvSpPr txBox="1"/>
          <p:nvPr/>
        </p:nvSpPr>
        <p:spPr>
          <a:xfrm>
            <a:off x="1329415" y="2763772"/>
            <a:ext cx="3693797" cy="58477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53565A"/>
                </a:solidFill>
              </a:rPr>
              <a:t>NWO, NL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53565A"/>
                </a:solidFill>
              </a:rPr>
              <a:t>Gold – CC B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53565A"/>
                </a:solidFill>
              </a:rPr>
              <a:t>Green -  immediate sharing of preprint </a:t>
            </a:r>
          </a:p>
        </p:txBody>
      </p:sp>
      <p:cxnSp>
        <p:nvCxnSpPr>
          <p:cNvPr id="162" name="Straight Arrow Connector 161"/>
          <p:cNvCxnSpPr>
            <a:stCxn id="155" idx="3"/>
          </p:cNvCxnSpPr>
          <p:nvPr/>
        </p:nvCxnSpPr>
        <p:spPr>
          <a:xfrm>
            <a:off x="5026478" y="1101235"/>
            <a:ext cx="1319901" cy="185114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6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60" y="2795321"/>
            <a:ext cx="809938" cy="410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" name="Rectangle 163"/>
          <p:cNvSpPr/>
          <p:nvPr/>
        </p:nvSpPr>
        <p:spPr>
          <a:xfrm>
            <a:off x="6580816" y="4447690"/>
            <a:ext cx="2398817" cy="584775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200" b="1" dirty="0">
                <a:solidFill>
                  <a:srgbClr val="53565A"/>
                </a:solidFill>
                <a:cs typeface="Arial" panose="020B0604020202020204" pitchFamily="34" charset="0"/>
              </a:rPr>
              <a:t>FWF, Austria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53565A"/>
                </a:solidFill>
                <a:cs typeface="Arial" panose="020B0604020202020204" pitchFamily="34" charset="0"/>
              </a:rPr>
              <a:t>Gold – CCBY, funding avail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53565A"/>
                </a:solidFill>
                <a:cs typeface="Arial" panose="020B0604020202020204" pitchFamily="34" charset="0"/>
              </a:rPr>
              <a:t>Green - 6 /12 month embargo</a:t>
            </a:r>
          </a:p>
        </p:txBody>
      </p:sp>
      <p:pic>
        <p:nvPicPr>
          <p:cNvPr id="16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924" y="4149254"/>
            <a:ext cx="1072891" cy="793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6" name="TextBox 165"/>
          <p:cNvSpPr txBox="1"/>
          <p:nvPr/>
        </p:nvSpPr>
        <p:spPr>
          <a:xfrm>
            <a:off x="1374034" y="4133684"/>
            <a:ext cx="3702898" cy="83099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53565A"/>
                </a:solidFill>
              </a:rPr>
              <a:t>EC, EU: </a:t>
            </a:r>
            <a:r>
              <a:rPr lang="en-US" sz="1050" dirty="0">
                <a:solidFill>
                  <a:srgbClr val="53565A"/>
                </a:solidFill>
              </a:rPr>
              <a:t>Horizon 2020 funding program-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</a:rPr>
              <a:t>Gold - Permitted, pilot with </a:t>
            </a:r>
            <a:r>
              <a:rPr lang="en-US" sz="1200" dirty="0" err="1">
                <a:solidFill>
                  <a:srgbClr val="53565A"/>
                </a:solidFill>
              </a:rPr>
              <a:t>OpenAIRE</a:t>
            </a:r>
            <a:r>
              <a:rPr lang="en-US" sz="1200" dirty="0">
                <a:solidFill>
                  <a:srgbClr val="53565A"/>
                </a:solidFill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</a:rPr>
              <a:t>Green - 6 months embargo</a:t>
            </a:r>
          </a:p>
          <a:p>
            <a:r>
              <a:rPr lang="en-US" sz="1200" dirty="0">
                <a:solidFill>
                  <a:srgbClr val="53565A"/>
                </a:solidFill>
              </a:rPr>
              <a:t>(12 months for social sciences and humanities)</a:t>
            </a:r>
          </a:p>
        </p:txBody>
      </p:sp>
      <p:pic>
        <p:nvPicPr>
          <p:cNvPr id="167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59" y="3476697"/>
            <a:ext cx="892190" cy="322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8" name="TextBox 167"/>
          <p:cNvSpPr txBox="1"/>
          <p:nvPr/>
        </p:nvSpPr>
        <p:spPr>
          <a:xfrm>
            <a:off x="1322918" y="3421668"/>
            <a:ext cx="3701993" cy="584775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rgbClr val="53565A"/>
                </a:solidFill>
              </a:rPr>
              <a:t>DFG Germany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53565A"/>
                </a:solidFill>
              </a:rPr>
              <a:t>Gold -</a:t>
            </a:r>
            <a:r>
              <a:rPr lang="en-US" sz="1000" dirty="0">
                <a:solidFill>
                  <a:srgbClr val="53565A"/>
                </a:solidFill>
              </a:rPr>
              <a:t> with capped/restricted funding available</a:t>
            </a:r>
            <a:endParaRPr lang="en-GB" sz="1000" dirty="0">
              <a:solidFill>
                <a:srgbClr val="53565A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53565A"/>
                </a:solidFill>
              </a:rPr>
              <a:t>Green -12 months embargo; </a:t>
            </a:r>
            <a:r>
              <a:rPr lang="en-GB" sz="1000" dirty="0">
                <a:solidFill>
                  <a:srgbClr val="53565A"/>
                </a:solidFill>
                <a:cs typeface="Arial" panose="020B0604020202020204" pitchFamily="34" charset="0"/>
              </a:rPr>
              <a:t>deposit AM in public repository </a:t>
            </a:r>
            <a:endParaRPr lang="en-US" sz="1000" dirty="0">
              <a:solidFill>
                <a:srgbClr val="53565A"/>
              </a:solidFill>
            </a:endParaRPr>
          </a:p>
        </p:txBody>
      </p:sp>
      <p:cxnSp>
        <p:nvCxnSpPr>
          <p:cNvPr id="169" name="Straight Arrow Connector 168"/>
          <p:cNvCxnSpPr>
            <a:stCxn id="168" idx="3"/>
          </p:cNvCxnSpPr>
          <p:nvPr/>
        </p:nvCxnSpPr>
        <p:spPr>
          <a:xfrm flipV="1">
            <a:off x="5024911" y="3184331"/>
            <a:ext cx="2043601" cy="52972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70" name="Picture 16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5102" y="4572518"/>
            <a:ext cx="863592" cy="262464"/>
          </a:xfrm>
          <a:prstGeom prst="rect">
            <a:avLst/>
          </a:prstGeom>
        </p:spPr>
      </p:pic>
      <p:cxnSp>
        <p:nvCxnSpPr>
          <p:cNvPr id="171" name="Straight Arrow Connector 170"/>
          <p:cNvCxnSpPr/>
          <p:nvPr/>
        </p:nvCxnSpPr>
        <p:spPr>
          <a:xfrm flipH="1" flipV="1">
            <a:off x="7286668" y="3637599"/>
            <a:ext cx="229094" cy="7885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72" name="Rectangle 171"/>
          <p:cNvSpPr/>
          <p:nvPr/>
        </p:nvSpPr>
        <p:spPr>
          <a:xfrm>
            <a:off x="6435543" y="707529"/>
            <a:ext cx="2398817" cy="769441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200" b="1" dirty="0">
                <a:solidFill>
                  <a:srgbClr val="53565A"/>
                </a:solidFill>
                <a:cs typeface="Arial" panose="020B0604020202020204" pitchFamily="34" charset="0"/>
              </a:rPr>
              <a:t>Swedish Research Council, Sweden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53565A"/>
                </a:solidFill>
                <a:cs typeface="Arial" panose="020B0604020202020204" pitchFamily="34" charset="0"/>
              </a:rPr>
              <a:t>Gold – CC B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53565A"/>
                </a:solidFill>
                <a:cs typeface="Arial" panose="020B0604020202020204" pitchFamily="34" charset="0"/>
              </a:rPr>
              <a:t>Green – 6/12 month embargo</a:t>
            </a:r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90" t="8028" r="12896" b="18522"/>
          <a:stretch/>
        </p:blipFill>
        <p:spPr>
          <a:xfrm>
            <a:off x="5590317" y="683582"/>
            <a:ext cx="729864" cy="677104"/>
          </a:xfrm>
          <a:prstGeom prst="rect">
            <a:avLst/>
          </a:prstGeom>
        </p:spPr>
      </p:pic>
      <p:cxnSp>
        <p:nvCxnSpPr>
          <p:cNvPr id="174" name="Straight Arrow Connector 173"/>
          <p:cNvCxnSpPr/>
          <p:nvPr/>
        </p:nvCxnSpPr>
        <p:spPr>
          <a:xfrm flipH="1">
            <a:off x="7428012" y="1473016"/>
            <a:ext cx="162761" cy="6074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F3F4AD8F-742E-45C8-B9B5-C934D045B48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660" y="967913"/>
            <a:ext cx="952495" cy="24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7515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1C1C0083-21D7-1440-932E-54B27879D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311" y="380204"/>
            <a:ext cx="7584935" cy="462759"/>
          </a:xfrm>
        </p:spPr>
        <p:txBody>
          <a:bodyPr/>
          <a:lstStyle/>
          <a:p>
            <a:r>
              <a:rPr lang="en-GB" dirty="0"/>
              <a:t>Total article growth by journal business model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31ADBAD-67B8-7D4C-BC68-155C24DCDC69}"/>
              </a:ext>
            </a:extLst>
          </p:cNvPr>
          <p:cNvSpPr txBox="1">
            <a:spLocks/>
          </p:cNvSpPr>
          <p:nvPr/>
        </p:nvSpPr>
        <p:spPr>
          <a:xfrm>
            <a:off x="363311" y="1032236"/>
            <a:ext cx="4210900" cy="3219298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ts val="26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None/>
              <a:tabLst>
                <a:tab pos="266700" algn="l"/>
              </a:tabLst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3050" indent="-273050" algn="l" defTabSz="685800" rtl="0" eaLnBrk="1" latinLnBrk="0" hangingPunct="1">
              <a:lnSpc>
                <a:spcPts val="2600"/>
              </a:lnSpc>
              <a:spcBef>
                <a:spcPts val="0"/>
              </a:spcBef>
              <a:buClr>
                <a:srgbClr val="FF6C00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1450" algn="l" defTabSz="685800" rtl="0" eaLnBrk="1" latinLnBrk="0" hangingPunct="1">
              <a:lnSpc>
                <a:spcPts val="26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71450" algn="l" defTabSz="685800" rtl="0" eaLnBrk="1" latinLnBrk="0" hangingPunct="1">
              <a:lnSpc>
                <a:spcPts val="26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71450" algn="l" defTabSz="685800" rtl="0" eaLnBrk="1" latinLnBrk="0" hangingPunct="1">
              <a:lnSpc>
                <a:spcPts val="2600"/>
              </a:lnSpc>
              <a:spcBef>
                <a:spcPts val="0"/>
              </a:spcBef>
              <a:buClr>
                <a:srgbClr val="FF6C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lnSpc>
                <a:spcPts val="2200"/>
              </a:lnSpc>
              <a:tabLst>
                <a:tab pos="266693" algn="l"/>
              </a:tabLst>
            </a:pPr>
            <a:r>
              <a:rPr lang="en-US" sz="1300" dirty="0">
                <a:solidFill>
                  <a:srgbClr val="53565A"/>
                </a:solidFill>
                <a:latin typeface="Arial" panose="020B0604020202020204"/>
              </a:rPr>
              <a:t>In </a:t>
            </a:r>
            <a:r>
              <a:rPr lang="en-US" sz="1200" dirty="0">
                <a:solidFill>
                  <a:srgbClr val="53565A"/>
                </a:solidFill>
                <a:latin typeface="Arial" panose="020B0604020202020204"/>
                <a:cs typeface="NexusSansPro-Italic" panose="020B0504030101020102" pitchFamily="34" charset="0"/>
              </a:rPr>
              <a:t>2018 there were an estimated </a:t>
            </a:r>
            <a:r>
              <a:rPr lang="en-US" sz="1200" dirty="0">
                <a:solidFill>
                  <a:srgbClr val="FF6C00"/>
                </a:solidFill>
                <a:latin typeface="Arial" panose="020B0604020202020204"/>
                <a:cs typeface="NexusSansPro-Italic" panose="020B0504030101020102" pitchFamily="34" charset="0"/>
              </a:rPr>
              <a:t>2.1 million</a:t>
            </a:r>
            <a:r>
              <a:rPr lang="en-US" sz="1200" dirty="0">
                <a:solidFill>
                  <a:srgbClr val="53565A"/>
                </a:solidFill>
                <a:latin typeface="Arial" panose="020B0604020202020204"/>
                <a:cs typeface="NexusSansPro-Italic" panose="020B0504030101020102" pitchFamily="34" charset="0"/>
              </a:rPr>
              <a:t> subscription and </a:t>
            </a:r>
            <a:r>
              <a:rPr lang="en-US" sz="1200" dirty="0">
                <a:solidFill>
                  <a:srgbClr val="FF6C00"/>
                </a:solidFill>
                <a:latin typeface="Arial" panose="020B0604020202020204"/>
                <a:cs typeface="NexusSansPro-Italic" panose="020B0504030101020102" pitchFamily="34" charset="0"/>
              </a:rPr>
              <a:t>0.5 million </a:t>
            </a:r>
            <a:r>
              <a:rPr lang="en-US" sz="1200" dirty="0">
                <a:solidFill>
                  <a:srgbClr val="53565A"/>
                </a:solidFill>
                <a:latin typeface="Arial" panose="020B0604020202020204"/>
                <a:cs typeface="NexusSansPro-Italic" panose="020B0504030101020102" pitchFamily="34" charset="0"/>
              </a:rPr>
              <a:t>gold open access articles published worldwide.</a:t>
            </a:r>
          </a:p>
          <a:p>
            <a:pPr defTabSz="685783">
              <a:lnSpc>
                <a:spcPts val="2200"/>
              </a:lnSpc>
              <a:tabLst>
                <a:tab pos="266693" algn="l"/>
              </a:tabLst>
            </a:pPr>
            <a:endParaRPr lang="en-US" sz="1300" dirty="0">
              <a:solidFill>
                <a:srgbClr val="53565A"/>
              </a:solidFill>
              <a:latin typeface="Arial" panose="020B0604020202020204"/>
            </a:endParaRP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>
          <a:xfrm>
            <a:off x="1046431" y="4717879"/>
            <a:ext cx="3086100" cy="135000"/>
          </a:xfrm>
        </p:spPr>
        <p:txBody>
          <a:bodyPr/>
          <a:lstStyle/>
          <a:p>
            <a:pPr defTabSz="914378"/>
            <a:fld id="{E703C47A-2488-416B-89DF-02DC664DA84B}" type="datetime1">
              <a:rPr lang="nl-NL">
                <a:latin typeface="Arial" panose="020B0604020202020204"/>
              </a:rPr>
              <a:pPr defTabSz="914378"/>
              <a:t>28-10-2019</a:t>
            </a:fld>
            <a:endParaRPr lang="de-DE" dirty="0">
              <a:latin typeface="Arial" panose="020B060402020202020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4112" y="2309627"/>
            <a:ext cx="3611215" cy="1043427"/>
          </a:xfrm>
          <a:prstGeom prst="rect">
            <a:avLst/>
          </a:prstGeom>
          <a:ln>
            <a:solidFill>
              <a:srgbClr val="FF6C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indent="-255979" defTabSz="914378">
              <a:lnSpc>
                <a:spcPct val="150000"/>
              </a:lnSpc>
              <a:buClr>
                <a:srgbClr val="1F497D"/>
              </a:buClr>
            </a:pPr>
            <a:r>
              <a:rPr lang="en-US" sz="1100" b="1" dirty="0">
                <a:solidFill>
                  <a:srgbClr val="53565A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Open access content</a:t>
            </a:r>
            <a:endParaRPr lang="en-US" sz="1100" dirty="0">
              <a:solidFill>
                <a:srgbClr val="53565A"/>
              </a:solidFill>
              <a:latin typeface="Arial" panose="020B0604020202020204"/>
              <a:ea typeface="Kozuka Gothic Pr6N L" panose="020B0200000000000000" pitchFamily="34" charset="-128"/>
              <a:cs typeface="Nexus Sans Offc Pro" panose="020B0504030101020102" pitchFamily="34" charset="0"/>
            </a:endParaRPr>
          </a:p>
          <a:p>
            <a:pPr marL="135728" indent="-135728" defTabSz="914378">
              <a:lnSpc>
                <a:spcPct val="150000"/>
              </a:lnSpc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53565A"/>
                </a:solidFill>
                <a:ea typeface="Kozuka Gothic Pr6N L" panose="020B0200000000000000" pitchFamily="34" charset="-128"/>
                <a:cs typeface="Nexus Sans Offc Pro" panose="020B0504030101020102" pitchFamily="34" charset="0"/>
              </a:rPr>
              <a:t>Gold open access articles published in full gold open access journals and hybrid journals</a:t>
            </a:r>
            <a:r>
              <a:rPr lang="en-US" sz="1050" dirty="0">
                <a:solidFill>
                  <a:srgbClr val="53565A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 made up </a:t>
            </a:r>
            <a:r>
              <a:rPr lang="en-US" sz="1050" dirty="0">
                <a:solidFill>
                  <a:srgbClr val="FF6C00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20%</a:t>
            </a:r>
            <a:r>
              <a:rPr lang="en-US" sz="1050" dirty="0">
                <a:solidFill>
                  <a:srgbClr val="53565A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 of the total articles in 2018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64112" y="1653522"/>
            <a:ext cx="3611214" cy="558679"/>
          </a:xfrm>
          <a:prstGeom prst="rect">
            <a:avLst/>
          </a:prstGeom>
          <a:solidFill>
            <a:schemeClr val="bg1"/>
          </a:solidFill>
          <a:ln>
            <a:solidFill>
              <a:srgbClr val="FF6C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lvl="1" defTabSz="914378">
              <a:lnSpc>
                <a:spcPct val="150000"/>
              </a:lnSpc>
              <a:buClr>
                <a:srgbClr val="1F497D"/>
              </a:buClr>
            </a:pPr>
            <a:r>
              <a:rPr lang="en-US" sz="1100" b="1" dirty="0">
                <a:solidFill>
                  <a:srgbClr val="53565A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Subscription content</a:t>
            </a:r>
            <a:endParaRPr lang="en-US" sz="1100" dirty="0">
              <a:solidFill>
                <a:srgbClr val="53565A"/>
              </a:solidFill>
              <a:latin typeface="Arial" panose="020B0604020202020204"/>
              <a:ea typeface="Kozuka Gothic Pr6N L" panose="020B0200000000000000" pitchFamily="34" charset="-128"/>
              <a:cs typeface="Nexus Sans Offc Pro" panose="020B0504030101020102" pitchFamily="34" charset="0"/>
            </a:endParaRPr>
          </a:p>
          <a:p>
            <a:pPr marL="127394" lvl="1" indent="-127394" defTabSz="914378">
              <a:lnSpc>
                <a:spcPct val="150000"/>
              </a:lnSpc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FF6C00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80%</a:t>
            </a:r>
            <a:r>
              <a:rPr lang="en-US" sz="1050" dirty="0">
                <a:solidFill>
                  <a:srgbClr val="53565A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 share of total articles in 2018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64112" y="3356145"/>
            <a:ext cx="3611215" cy="1043427"/>
          </a:xfrm>
          <a:prstGeom prst="rect">
            <a:avLst/>
          </a:prstGeom>
          <a:ln>
            <a:solidFill>
              <a:srgbClr val="FF6C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defTabSz="914378">
              <a:lnSpc>
                <a:spcPct val="150000"/>
              </a:lnSpc>
              <a:buClr>
                <a:srgbClr val="1F497D"/>
              </a:buClr>
            </a:pPr>
            <a:r>
              <a:rPr lang="en-US" sz="1100" b="1" dirty="0">
                <a:solidFill>
                  <a:srgbClr val="53565A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Elsevier perspective</a:t>
            </a:r>
            <a:endParaRPr lang="en-US" sz="1100" dirty="0">
              <a:solidFill>
                <a:srgbClr val="53565A"/>
              </a:solidFill>
              <a:latin typeface="Arial" panose="020B0604020202020204"/>
              <a:ea typeface="Kozuka Gothic Pr6N L" panose="020B0200000000000000" pitchFamily="34" charset="-128"/>
              <a:cs typeface="Nexus Sans Offc Pro" panose="020B0504030101020102" pitchFamily="34" charset="0"/>
            </a:endParaRPr>
          </a:p>
          <a:p>
            <a:pPr marL="128585" indent="-128585" defTabSz="914378">
              <a:lnSpc>
                <a:spcPct val="150000"/>
              </a:lnSpc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53565A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In 2018, Elsevier published around </a:t>
            </a:r>
            <a:r>
              <a:rPr lang="en-US" sz="1050" dirty="0">
                <a:solidFill>
                  <a:srgbClr val="FF6C00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470,000 </a:t>
            </a:r>
            <a:r>
              <a:rPr lang="en-US" sz="1050" dirty="0">
                <a:solidFill>
                  <a:srgbClr val="53565A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articles</a:t>
            </a:r>
          </a:p>
          <a:p>
            <a:pPr marL="128585" lvl="1" indent="-128585" defTabSz="914378">
              <a:lnSpc>
                <a:spcPct val="150000"/>
              </a:lnSpc>
              <a:buClr>
                <a:srgbClr val="1F497D"/>
              </a:buClr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53565A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This includes over </a:t>
            </a:r>
            <a:r>
              <a:rPr lang="en-US" sz="1050" dirty="0">
                <a:solidFill>
                  <a:srgbClr val="FF6C00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34,000</a:t>
            </a:r>
            <a:r>
              <a:rPr lang="en-US" sz="1050" dirty="0">
                <a:solidFill>
                  <a:srgbClr val="53565A"/>
                </a:solidFill>
                <a:latin typeface="Arial" panose="020B0604020202020204"/>
                <a:ea typeface="Kozuka Gothic Pr6N L" panose="020B0200000000000000" pitchFamily="34" charset="-128"/>
                <a:cs typeface="Nexus Sans Offc Pro" panose="020B0504030101020102" pitchFamily="34" charset="0"/>
              </a:rPr>
              <a:t> gold open access articles, a 26% increase on 2017</a:t>
            </a:r>
            <a:endParaRPr lang="en-GB" sz="600" dirty="0">
              <a:solidFill>
                <a:srgbClr val="53565A"/>
              </a:solidFill>
              <a:latin typeface="Arial" panose="020B0604020202020204"/>
              <a:ea typeface="Kozuka Gothic Pr6N L" panose="020B0200000000000000" pitchFamily="34" charset="-128"/>
              <a:cs typeface="Nexus Sans Offc Pro" panose="020B0504030101020102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F6D4ED-9D76-4389-A4FF-B894DE3743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3566" y="1032236"/>
            <a:ext cx="2857560" cy="3282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603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lsevier">
  <a:themeElements>
    <a:clrScheme name="Elsevier">
      <a:dk1>
        <a:srgbClr val="53565A"/>
      </a:dk1>
      <a:lt1>
        <a:sysClr val="window" lastClr="FFFFFF"/>
      </a:lt1>
      <a:dk2>
        <a:srgbClr val="53565A"/>
      </a:dk2>
      <a:lt2>
        <a:srgbClr val="E7E6E6"/>
      </a:lt2>
      <a:accent1>
        <a:srgbClr val="FDD300"/>
      </a:accent1>
      <a:accent2>
        <a:srgbClr val="FF6C00"/>
      </a:accent2>
      <a:accent3>
        <a:srgbClr val="F73E29"/>
      </a:accent3>
      <a:accent4>
        <a:srgbClr val="661CCA"/>
      </a:accent4>
      <a:accent5>
        <a:srgbClr val="3679E0"/>
      </a:accent5>
      <a:accent6>
        <a:srgbClr val="8ED7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ey">
      <a:srgbClr val="53565A"/>
    </a:custClr>
    <a:custClr name="Orange">
      <a:srgbClr val="FF6C00"/>
    </a:custClr>
    <a:custClr name="Grey footer">
      <a:srgbClr val="A7A8AA"/>
    </a:custClr>
    <a:custClr name="Purple dark">
      <a:srgbClr val="661CCA"/>
    </a:custClr>
    <a:custClr name="Purple light">
      <a:srgbClr val="BB84FF"/>
    </a:custClr>
    <a:custClr name="Blue dark">
      <a:srgbClr val="3679E0"/>
    </a:custClr>
    <a:custClr name="Blue light">
      <a:srgbClr val="ACD2FF"/>
    </a:custClr>
    <a:custClr name="Green dark">
      <a:srgbClr val="8ED700"/>
    </a:custClr>
    <a:custClr name="Green light">
      <a:srgbClr val="C0F25D"/>
    </a:custClr>
    <a:custClr name="Yellow dark">
      <a:srgbClr val="FDD300"/>
    </a:custClr>
    <a:custClr name="Yellow light">
      <a:srgbClr val="FFEC84"/>
    </a:custClr>
    <a:custClr name="Red dark">
      <a:srgbClr val="F73E29"/>
    </a:custClr>
    <a:custClr name="Red light">
      <a:srgbClr val="FEB7B7"/>
    </a:custClr>
  </a:custClrLst>
  <a:extLst>
    <a:ext uri="{05A4C25C-085E-4340-85A3-A5531E510DB2}">
      <thm15:themeFamily xmlns:thm15="http://schemas.microsoft.com/office/thememl/2012/main" name="ELS_ppt-presentation_Arial 16_9 new.potx" id="{D40443C0-16AF-4A5D-8290-255DEE5F8301}" vid="{38A45B1D-F117-4F8B-9F78-F1219F5478A5}"/>
    </a:ext>
  </a:extLst>
</a:theme>
</file>

<file path=ppt/theme/theme2.xml><?xml version="1.0" encoding="utf-8"?>
<a:theme xmlns:a="http://schemas.openxmlformats.org/drawingml/2006/main" name="1_Elsevier">
  <a:themeElements>
    <a:clrScheme name="Elsevier">
      <a:dk1>
        <a:srgbClr val="53565A"/>
      </a:dk1>
      <a:lt1>
        <a:sysClr val="window" lastClr="FFFFFF"/>
      </a:lt1>
      <a:dk2>
        <a:srgbClr val="53565A"/>
      </a:dk2>
      <a:lt2>
        <a:srgbClr val="E7E6E6"/>
      </a:lt2>
      <a:accent1>
        <a:srgbClr val="FDD300"/>
      </a:accent1>
      <a:accent2>
        <a:srgbClr val="FF6C00"/>
      </a:accent2>
      <a:accent3>
        <a:srgbClr val="F73E29"/>
      </a:accent3>
      <a:accent4>
        <a:srgbClr val="661CCA"/>
      </a:accent4>
      <a:accent5>
        <a:srgbClr val="3679E0"/>
      </a:accent5>
      <a:accent6>
        <a:srgbClr val="8ED7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ey">
      <a:srgbClr val="53565A"/>
    </a:custClr>
    <a:custClr name="Orange">
      <a:srgbClr val="FF6C00"/>
    </a:custClr>
    <a:custClr name="Grey footer">
      <a:srgbClr val="A7A8AA"/>
    </a:custClr>
    <a:custClr name="Purple dark">
      <a:srgbClr val="661CCA"/>
    </a:custClr>
    <a:custClr name="Purple light">
      <a:srgbClr val="BB84FF"/>
    </a:custClr>
    <a:custClr name="Blue dark">
      <a:srgbClr val="3679E0"/>
    </a:custClr>
    <a:custClr name="Blue light">
      <a:srgbClr val="ACD2FF"/>
    </a:custClr>
    <a:custClr name="Green dark">
      <a:srgbClr val="8ED700"/>
    </a:custClr>
    <a:custClr name="Green light">
      <a:srgbClr val="C0F25D"/>
    </a:custClr>
    <a:custClr name="Yellow dark">
      <a:srgbClr val="FDD300"/>
    </a:custClr>
    <a:custClr name="Yellow light">
      <a:srgbClr val="FFEC84"/>
    </a:custClr>
    <a:custClr name="Red dark">
      <a:srgbClr val="F73E29"/>
    </a:custClr>
    <a:custClr name="Red light">
      <a:srgbClr val="FEB7B7"/>
    </a:custClr>
  </a:custClrLst>
  <a:extLst>
    <a:ext uri="{05A4C25C-085E-4340-85A3-A5531E510DB2}">
      <thm15:themeFamily xmlns:thm15="http://schemas.microsoft.com/office/thememl/2012/main" name="ELS_ppt-presentation_Arial 16_9 new.potx" id="{D40443C0-16AF-4A5D-8290-255DEE5F8301}" vid="{38A45B1D-F117-4F8B-9F78-F1219F5478A5}"/>
    </a:ext>
  </a:extLst>
</a:theme>
</file>

<file path=ppt/theme/theme3.xml><?xml version="1.0" encoding="utf-8"?>
<a:theme xmlns:a="http://schemas.openxmlformats.org/drawingml/2006/main" name="2_Elsevier">
  <a:themeElements>
    <a:clrScheme name="Elsevier">
      <a:dk1>
        <a:srgbClr val="53565A"/>
      </a:dk1>
      <a:lt1>
        <a:sysClr val="window" lastClr="FFFFFF"/>
      </a:lt1>
      <a:dk2>
        <a:srgbClr val="53565A"/>
      </a:dk2>
      <a:lt2>
        <a:srgbClr val="E7E6E6"/>
      </a:lt2>
      <a:accent1>
        <a:srgbClr val="FDD300"/>
      </a:accent1>
      <a:accent2>
        <a:srgbClr val="FF6C00"/>
      </a:accent2>
      <a:accent3>
        <a:srgbClr val="F73E29"/>
      </a:accent3>
      <a:accent4>
        <a:srgbClr val="661CCA"/>
      </a:accent4>
      <a:accent5>
        <a:srgbClr val="3679E0"/>
      </a:accent5>
      <a:accent6>
        <a:srgbClr val="8ED7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ey">
      <a:srgbClr val="53565A"/>
    </a:custClr>
    <a:custClr name="Orange">
      <a:srgbClr val="FF6C00"/>
    </a:custClr>
    <a:custClr name="Grey footer">
      <a:srgbClr val="A7A8AA"/>
    </a:custClr>
    <a:custClr name="Purple dark">
      <a:srgbClr val="661CCA"/>
    </a:custClr>
    <a:custClr name="Purple light">
      <a:srgbClr val="BB84FF"/>
    </a:custClr>
    <a:custClr name="Blue dark">
      <a:srgbClr val="3679E0"/>
    </a:custClr>
    <a:custClr name="Blue light">
      <a:srgbClr val="ACD2FF"/>
    </a:custClr>
    <a:custClr name="Green dark">
      <a:srgbClr val="8ED700"/>
    </a:custClr>
    <a:custClr name="Green light">
      <a:srgbClr val="C0F25D"/>
    </a:custClr>
    <a:custClr name="Yellow dark">
      <a:srgbClr val="FDD300"/>
    </a:custClr>
    <a:custClr name="Yellow light">
      <a:srgbClr val="FFEC84"/>
    </a:custClr>
    <a:custClr name="Red dark">
      <a:srgbClr val="F73E29"/>
    </a:custClr>
    <a:custClr name="Red light">
      <a:srgbClr val="FEB7B7"/>
    </a:custClr>
  </a:custClrLst>
  <a:extLst>
    <a:ext uri="{05A4C25C-085E-4340-85A3-A5531E510DB2}">
      <thm15:themeFamily xmlns:thm15="http://schemas.microsoft.com/office/thememl/2012/main" name="ELS_ppt-presentation_Arial 16_9 new.potx" id="{D40443C0-16AF-4A5D-8290-255DEE5F8301}" vid="{38A45B1D-F117-4F8B-9F78-F1219F5478A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608E3D75DC374990081775CD7A3F3D" ma:contentTypeVersion="13" ma:contentTypeDescription="Create a new document." ma:contentTypeScope="" ma:versionID="c35838ad44b411742188b8fa706e0892">
  <xsd:schema xmlns:xsd="http://www.w3.org/2001/XMLSchema" xmlns:xs="http://www.w3.org/2001/XMLSchema" xmlns:p="http://schemas.microsoft.com/office/2006/metadata/properties" xmlns:ns3="6254d118-c971-4216-abe1-d1da33ce5fc8" xmlns:ns4="55dc64b2-9c57-48aa-b1ec-76e88be1ad3a" targetNamespace="http://schemas.microsoft.com/office/2006/metadata/properties" ma:root="true" ma:fieldsID="f4be334bbb55f08641c40564030b379a" ns3:_="" ns4:_="">
    <xsd:import namespace="6254d118-c971-4216-abe1-d1da33ce5fc8"/>
    <xsd:import namespace="55dc64b2-9c57-48aa-b1ec-76e88be1ad3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54d118-c971-4216-abe1-d1da33ce5f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dc64b2-9c57-48aa-b1ec-76e88be1ad3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BDC7E9E-211C-4D17-8949-D246D35C983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889AB6-F187-4C8D-87E7-DCFB4F417C01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5dc64b2-9c57-48aa-b1ec-76e88be1ad3a"/>
    <ds:schemaRef ds:uri="http://purl.org/dc/elements/1.1/"/>
    <ds:schemaRef ds:uri="http://schemas.microsoft.com/office/2006/metadata/properties"/>
    <ds:schemaRef ds:uri="6254d118-c971-4216-abe1-d1da33ce5fc8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7586109-57A4-4582-A185-9BC28936D0F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54d118-c971-4216-abe1-d1da33ce5fc8"/>
    <ds:schemaRef ds:uri="55dc64b2-9c57-48aa-b1ec-76e88be1ad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LS_ppt-presentation_Arial 16_9 new colorscheme</Template>
  <TotalTime>2941</TotalTime>
  <Words>1955</Words>
  <Application>Microsoft Office PowerPoint</Application>
  <PresentationFormat>On-screen Show (16:9)</PresentationFormat>
  <Paragraphs>255</Paragraphs>
  <Slides>26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Calibri</vt:lpstr>
      <vt:lpstr>Kozuka Gothic Pr6N L</vt:lpstr>
      <vt:lpstr>Wingdings</vt:lpstr>
      <vt:lpstr>Elsevier</vt:lpstr>
      <vt:lpstr>1_Elsevier</vt:lpstr>
      <vt:lpstr>2_Elsevier</vt:lpstr>
      <vt:lpstr>think-cell Slide</vt:lpstr>
      <vt:lpstr>Open Access and Open Science: making it happen </vt:lpstr>
      <vt:lpstr>We don’t have all the answers, nor a fixed solution</vt:lpstr>
      <vt:lpstr>How do we understand open science?</vt:lpstr>
      <vt:lpstr>Global approaches to open science</vt:lpstr>
      <vt:lpstr>Drivers behind open science</vt:lpstr>
      <vt:lpstr>The Open Science Monitor</vt:lpstr>
      <vt:lpstr>More inclusive</vt:lpstr>
      <vt:lpstr>Snapshot of EU funding body policies</vt:lpstr>
      <vt:lpstr>Total article growth by journal business model</vt:lpstr>
      <vt:lpstr>Elsevier and open access</vt:lpstr>
      <vt:lpstr>Elsevier and open access</vt:lpstr>
      <vt:lpstr>Elsevier and open access</vt:lpstr>
      <vt:lpstr>Share Links</vt:lpstr>
      <vt:lpstr>PowerPoint Presentation</vt:lpstr>
      <vt:lpstr>Fueling IRs: free API program </vt:lpstr>
      <vt:lpstr>More collaborative</vt:lpstr>
      <vt:lpstr>PowerPoint Presentation</vt:lpstr>
      <vt:lpstr>Storing research data &amp; facilitating cooperation </vt:lpstr>
      <vt:lpstr>Publishing data articles</vt:lpstr>
      <vt:lpstr>Linking to external data repositories</vt:lpstr>
      <vt:lpstr>More transparent</vt:lpstr>
      <vt:lpstr>Open peer review reports</vt:lpstr>
      <vt:lpstr>Comprehensive Journal Data Guidelines</vt:lpstr>
      <vt:lpstr>Implemented data citations </vt:lpstr>
      <vt:lpstr>Enhanced Reporting</vt:lpstr>
      <vt:lpstr>Ačiū už dėmesį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type title second line and third line </dc:title>
  <dc:creator>Systeem Beheer</dc:creator>
  <cp:lastModifiedBy>Gaca-Zając, Katarzyna (ELS-WRO)</cp:lastModifiedBy>
  <cp:revision>131</cp:revision>
  <dcterms:created xsi:type="dcterms:W3CDTF">2018-05-15T08:42:12Z</dcterms:created>
  <dcterms:modified xsi:type="dcterms:W3CDTF">2019-10-29T09:2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608E3D75DC374990081775CD7A3F3D</vt:lpwstr>
  </property>
</Properties>
</file>